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1" r:id="rId2"/>
  </p:sldMasterIdLst>
  <p:notesMasterIdLst>
    <p:notesMasterId r:id="rId19"/>
  </p:notesMasterIdLst>
  <p:handoutMasterIdLst>
    <p:handoutMasterId r:id="rId20"/>
  </p:handoutMasterIdLst>
  <p:sldIdLst>
    <p:sldId id="402" r:id="rId3"/>
    <p:sldId id="933" r:id="rId4"/>
    <p:sldId id="939" r:id="rId5"/>
    <p:sldId id="1072" r:id="rId6"/>
    <p:sldId id="1071" r:id="rId7"/>
    <p:sldId id="936" r:id="rId8"/>
    <p:sldId id="940" r:id="rId9"/>
    <p:sldId id="938" r:id="rId10"/>
    <p:sldId id="941" r:id="rId11"/>
    <p:sldId id="1073" r:id="rId12"/>
    <p:sldId id="942" r:id="rId13"/>
    <p:sldId id="943" r:id="rId14"/>
    <p:sldId id="944" r:id="rId15"/>
    <p:sldId id="945" r:id="rId16"/>
    <p:sldId id="946" r:id="rId17"/>
    <p:sldId id="947" r:id="rId18"/>
  </p:sldIdLst>
  <p:sldSz cx="9144000" cy="6858000" type="screen4x3"/>
  <p:notesSz cx="6858000" cy="9661525"/>
  <p:custShowLst>
    <p:custShow name="Mustermann1" id="0">
      <p:sldLst/>
    </p:custShow>
  </p:custShow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D"/>
    <a:srgbClr val="FF3300"/>
    <a:srgbClr val="800000"/>
    <a:srgbClr val="990000"/>
    <a:srgbClr val="CC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851" autoAdjust="0"/>
    <p:restoredTop sz="95388" autoAdjust="0"/>
  </p:normalViewPr>
  <p:slideViewPr>
    <p:cSldViewPr snapToGrid="0" showGuides="1">
      <p:cViewPr varScale="1">
        <p:scale>
          <a:sx n="112" d="100"/>
          <a:sy n="112" d="100"/>
        </p:scale>
        <p:origin x="1182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cha Plate" userId="ed8ff092-8995-4993-845b-21c8a164b889" providerId="ADAL" clId="{8EC2DDE8-55CA-4417-BE68-FC755CA52417}"/>
    <pc:docChg chg="undo custSel modSld">
      <pc:chgData name="Sascha Plate" userId="ed8ff092-8995-4993-845b-21c8a164b889" providerId="ADAL" clId="{8EC2DDE8-55CA-4417-BE68-FC755CA52417}" dt="2021-11-08T16:09:28.131" v="487" actId="20577"/>
      <pc:docMkLst>
        <pc:docMk/>
      </pc:docMkLst>
      <pc:sldChg chg="modSp mod">
        <pc:chgData name="Sascha Plate" userId="ed8ff092-8995-4993-845b-21c8a164b889" providerId="ADAL" clId="{8EC2DDE8-55CA-4417-BE68-FC755CA52417}" dt="2021-11-08T16:09:28.131" v="487" actId="20577"/>
        <pc:sldMkLst>
          <pc:docMk/>
          <pc:sldMk cId="0" sldId="402"/>
        </pc:sldMkLst>
        <pc:spChg chg="mod">
          <ac:chgData name="Sascha Plate" userId="ed8ff092-8995-4993-845b-21c8a164b889" providerId="ADAL" clId="{8EC2DDE8-55CA-4417-BE68-FC755CA52417}" dt="2021-11-08T16:09:28.131" v="487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2:21.807" v="419" actId="20577"/>
        <pc:sldMkLst>
          <pc:docMk/>
          <pc:sldMk cId="889590670" sldId="933"/>
        </pc:sldMkLst>
        <pc:spChg chg="mod">
          <ac:chgData name="Sascha Plate" userId="ed8ff092-8995-4993-845b-21c8a164b889" providerId="ADAL" clId="{8EC2DDE8-55CA-4417-BE68-FC755CA52417}" dt="2021-11-08T14:02:21.807" v="419" actId="20577"/>
          <ac:spMkLst>
            <pc:docMk/>
            <pc:sldMk cId="889590670" sldId="93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27:14.115" v="448" actId="20577"/>
        <pc:sldMkLst>
          <pc:docMk/>
          <pc:sldMk cId="1236502503" sldId="936"/>
        </pc:sldMkLst>
        <pc:spChg chg="mod">
          <ac:chgData name="Sascha Plate" userId="ed8ff092-8995-4993-845b-21c8a164b889" providerId="ADAL" clId="{8EC2DDE8-55CA-4417-BE68-FC755CA52417}" dt="2021-11-08T14:27:14.115" v="448" actId="20577"/>
          <ac:spMkLst>
            <pc:docMk/>
            <pc:sldMk cId="1236502503" sldId="936"/>
            <ac:spMk id="6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03:04.223" v="423"/>
          <ac:spMkLst>
            <pc:docMk/>
            <pc:sldMk cId="1236502503" sldId="936"/>
            <ac:spMk id="7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2.343" v="425"/>
        <pc:sldMkLst>
          <pc:docMk/>
          <pc:sldMk cId="4265109478" sldId="938"/>
        </pc:sldMkLst>
        <pc:spChg chg="mod">
          <ac:chgData name="Sascha Plate" userId="ed8ff092-8995-4993-845b-21c8a164b889" providerId="ADAL" clId="{8EC2DDE8-55CA-4417-BE68-FC755CA52417}" dt="2021-11-08T14:03:12.343" v="425"/>
          <ac:spMkLst>
            <pc:docMk/>
            <pc:sldMk cId="4265109478" sldId="938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18:02.088" v="438" actId="20577"/>
        <pc:sldMkLst>
          <pc:docMk/>
          <pc:sldMk cId="3574863733" sldId="939"/>
        </pc:sldMkLst>
        <pc:spChg chg="mod">
          <ac:chgData name="Sascha Plate" userId="ed8ff092-8995-4993-845b-21c8a164b889" providerId="ADAL" clId="{8EC2DDE8-55CA-4417-BE68-FC755CA52417}" dt="2021-11-08T14:02:47.095" v="420"/>
          <ac:spMkLst>
            <pc:docMk/>
            <pc:sldMk cId="3574863733" sldId="939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18:02.088" v="438" actId="20577"/>
          <ac:spMkLst>
            <pc:docMk/>
            <pc:sldMk cId="3574863733" sldId="939"/>
            <ac:spMk id="11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07.770" v="424"/>
        <pc:sldMkLst>
          <pc:docMk/>
          <pc:sldMk cId="163560966" sldId="940"/>
        </pc:sldMkLst>
        <pc:spChg chg="mod">
          <ac:chgData name="Sascha Plate" userId="ed8ff092-8995-4993-845b-21c8a164b889" providerId="ADAL" clId="{8EC2DDE8-55CA-4417-BE68-FC755CA52417}" dt="2021-11-08T14:03:07.770" v="424"/>
          <ac:spMkLst>
            <pc:docMk/>
            <pc:sldMk cId="163560966" sldId="940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5.561" v="426"/>
        <pc:sldMkLst>
          <pc:docMk/>
          <pc:sldMk cId="3444201860" sldId="941"/>
        </pc:sldMkLst>
        <pc:spChg chg="mod">
          <ac:chgData name="Sascha Plate" userId="ed8ff092-8995-4993-845b-21c8a164b889" providerId="ADAL" clId="{8EC2DDE8-55CA-4417-BE68-FC755CA52417}" dt="2021-11-08T14:03:15.561" v="426"/>
          <ac:spMkLst>
            <pc:docMk/>
            <pc:sldMk cId="3444201860" sldId="941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3:53:30.831" v="334" actId="2"/>
          <ac:graphicFrameMkLst>
            <pc:docMk/>
            <pc:sldMk cId="3444201860" sldId="941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6.117" v="428"/>
        <pc:sldMkLst>
          <pc:docMk/>
          <pc:sldMk cId="3904258734" sldId="942"/>
        </pc:sldMkLst>
        <pc:spChg chg="mod">
          <ac:chgData name="Sascha Plate" userId="ed8ff092-8995-4993-845b-21c8a164b889" providerId="ADAL" clId="{8EC2DDE8-55CA-4417-BE68-FC755CA52417}" dt="2021-11-08T14:03:26.117" v="428"/>
          <ac:spMkLst>
            <pc:docMk/>
            <pc:sldMk cId="3904258734" sldId="942"/>
            <ac:spMk id="9" creationId="{00000000-0000-0000-0000-000000000000}"/>
          </ac:spMkLst>
        </pc:spChg>
        <pc:graphicFrameChg chg="mod modGraphic">
          <ac:chgData name="Sascha Plate" userId="ed8ff092-8995-4993-845b-21c8a164b889" providerId="ADAL" clId="{8EC2DDE8-55CA-4417-BE68-FC755CA52417}" dt="2021-11-08T13:40:23.700" v="4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9.540" v="429"/>
        <pc:sldMkLst>
          <pc:docMk/>
          <pc:sldMk cId="386723065" sldId="943"/>
        </pc:sldMkLst>
        <pc:spChg chg="mod">
          <ac:chgData name="Sascha Plate" userId="ed8ff092-8995-4993-845b-21c8a164b889" providerId="ADAL" clId="{8EC2DDE8-55CA-4417-BE68-FC755CA52417}" dt="2021-11-08T14:03:29.540" v="429"/>
          <ac:spMkLst>
            <pc:docMk/>
            <pc:sldMk cId="386723065" sldId="94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31:14.329" v="454" actId="20577"/>
        <pc:sldMkLst>
          <pc:docMk/>
          <pc:sldMk cId="253587772" sldId="944"/>
        </pc:sldMkLst>
        <pc:spChg chg="mod">
          <ac:chgData name="Sascha Plate" userId="ed8ff092-8995-4993-845b-21c8a164b889" providerId="ADAL" clId="{8EC2DDE8-55CA-4417-BE68-FC755CA52417}" dt="2021-11-08T14:03:32.708" v="430"/>
          <ac:spMkLst>
            <pc:docMk/>
            <pc:sldMk cId="253587772" sldId="944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4:31:14.329" v="454" actId="20577"/>
          <ac:graphicFrameMkLst>
            <pc:docMk/>
            <pc:sldMk cId="253587772" sldId="944"/>
            <ac:graphicFrameMk id="35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43:41.729" v="459" actId="20577"/>
        <pc:sldMkLst>
          <pc:docMk/>
          <pc:sldMk cId="2967974404" sldId="945"/>
        </pc:sldMkLst>
        <pc:spChg chg="mod">
          <ac:chgData name="Sascha Plate" userId="ed8ff092-8995-4993-845b-21c8a164b889" providerId="ADAL" clId="{8EC2DDE8-55CA-4417-BE68-FC755CA52417}" dt="2021-11-08T14:03:37.382" v="431"/>
          <ac:spMkLst>
            <pc:docMk/>
            <pc:sldMk cId="2967974404" sldId="945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43:41.729" v="459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41.394" v="432"/>
        <pc:sldMkLst>
          <pc:docMk/>
          <pc:sldMk cId="3050947903" sldId="946"/>
        </pc:sldMkLst>
        <pc:spChg chg="mod">
          <ac:chgData name="Sascha Plate" userId="ed8ff092-8995-4993-845b-21c8a164b889" providerId="ADAL" clId="{8EC2DDE8-55CA-4417-BE68-FC755CA52417}" dt="2021-11-08T14:03:41.394" v="432"/>
          <ac:spMkLst>
            <pc:docMk/>
            <pc:sldMk cId="3050947903" sldId="946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45.599" v="433"/>
        <pc:sldMkLst>
          <pc:docMk/>
          <pc:sldMk cId="3271825444" sldId="947"/>
        </pc:sldMkLst>
        <pc:spChg chg="mod">
          <ac:chgData name="Sascha Plate" userId="ed8ff092-8995-4993-845b-21c8a164b889" providerId="ADAL" clId="{8EC2DDE8-55CA-4417-BE68-FC755CA52417}" dt="2021-11-08T14:03:45.599" v="433"/>
          <ac:spMkLst>
            <pc:docMk/>
            <pc:sldMk cId="3271825444" sldId="947"/>
            <ac:spMk id="9" creationId="{00000000-0000-0000-0000-000000000000}"/>
          </ac:spMkLst>
        </pc:spChg>
      </pc:sldChg>
      <pc:sldChg chg="delSp modSp mod">
        <pc:chgData name="Sascha Plate" userId="ed8ff092-8995-4993-845b-21c8a164b889" providerId="ADAL" clId="{8EC2DDE8-55CA-4417-BE68-FC755CA52417}" dt="2021-11-08T14:32:23.494" v="458" actId="478"/>
        <pc:sldMkLst>
          <pc:docMk/>
          <pc:sldMk cId="1100124780" sldId="1071"/>
        </pc:sldMkLst>
        <pc:spChg chg="mod">
          <ac:chgData name="Sascha Plate" userId="ed8ff092-8995-4993-845b-21c8a164b889" providerId="ADAL" clId="{8EC2DDE8-55CA-4417-BE68-FC755CA52417}" dt="2021-11-08T14:03:01.198" v="422"/>
          <ac:spMkLst>
            <pc:docMk/>
            <pc:sldMk cId="1100124780" sldId="1071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3:40:57.795" v="67" actId="20577"/>
          <ac:spMkLst>
            <pc:docMk/>
            <pc:sldMk cId="1100124780" sldId="1071"/>
            <ac:spMk id="19" creationId="{96F8627F-6518-484C-A599-43FD66328600}"/>
          </ac:spMkLst>
        </pc:spChg>
        <pc:spChg chg="mod">
          <ac:chgData name="Sascha Plate" userId="ed8ff092-8995-4993-845b-21c8a164b889" providerId="ADAL" clId="{8EC2DDE8-55CA-4417-BE68-FC755CA52417}" dt="2021-11-08T13:51:16.109" v="281" actId="20577"/>
          <ac:spMkLst>
            <pc:docMk/>
            <pc:sldMk cId="1100124780" sldId="1071"/>
            <ac:spMk id="20" creationId="{62019EEE-9A6D-7F4B-8E95-DEDFCEAF9E95}"/>
          </ac:spMkLst>
        </pc:spChg>
        <pc:spChg chg="mod">
          <ac:chgData name="Sascha Plate" userId="ed8ff092-8995-4993-845b-21c8a164b889" providerId="ADAL" clId="{8EC2DDE8-55CA-4417-BE68-FC755CA52417}" dt="2021-11-08T13:51:23.639" v="293" actId="20577"/>
          <ac:spMkLst>
            <pc:docMk/>
            <pc:sldMk cId="1100124780" sldId="1071"/>
            <ac:spMk id="21" creationId="{FE4EEB46-7FCC-1841-9842-374FD0E8309E}"/>
          </ac:spMkLst>
        </pc:spChg>
        <pc:spChg chg="mod">
          <ac:chgData name="Sascha Plate" userId="ed8ff092-8995-4993-845b-21c8a164b889" providerId="ADAL" clId="{8EC2DDE8-55CA-4417-BE68-FC755CA52417}" dt="2021-11-08T13:52:21.078" v="303" actId="20577"/>
          <ac:spMkLst>
            <pc:docMk/>
            <pc:sldMk cId="1100124780" sldId="1071"/>
            <ac:spMk id="22" creationId="{EC38DEF8-304E-8F45-9E20-C7DA65387EDF}"/>
          </ac:spMkLst>
        </pc:spChg>
        <pc:spChg chg="mod">
          <ac:chgData name="Sascha Plate" userId="ed8ff092-8995-4993-845b-21c8a164b889" providerId="ADAL" clId="{8EC2DDE8-55CA-4417-BE68-FC755CA52417}" dt="2021-11-08T13:53:10.008" v="330" actId="790"/>
          <ac:spMkLst>
            <pc:docMk/>
            <pc:sldMk cId="1100124780" sldId="1071"/>
            <ac:spMk id="23" creationId="{094A6EE1-FF3B-B245-BE33-546CDA2B9E0A}"/>
          </ac:spMkLst>
        </pc:spChg>
        <pc:spChg chg="mod">
          <ac:chgData name="Sascha Plate" userId="ed8ff092-8995-4993-845b-21c8a164b889" providerId="ADAL" clId="{8EC2DDE8-55CA-4417-BE68-FC755CA52417}" dt="2021-11-08T13:58:58.700" v="378" actId="20577"/>
          <ac:spMkLst>
            <pc:docMk/>
            <pc:sldMk cId="1100124780" sldId="1071"/>
            <ac:spMk id="24" creationId="{981FAE73-B973-E042-827B-DB7A6960FEAE}"/>
          </ac:spMkLst>
        </pc:spChg>
        <pc:spChg chg="mod">
          <ac:chgData name="Sascha Plate" userId="ed8ff092-8995-4993-845b-21c8a164b889" providerId="ADAL" clId="{8EC2DDE8-55CA-4417-BE68-FC755CA52417}" dt="2021-11-08T13:49:46.279" v="233" actId="20577"/>
          <ac:spMkLst>
            <pc:docMk/>
            <pc:sldMk cId="1100124780" sldId="1071"/>
            <ac:spMk id="25" creationId="{93E73510-C380-F544-8D85-250777570799}"/>
          </ac:spMkLst>
        </pc:spChg>
        <pc:spChg chg="mod">
          <ac:chgData name="Sascha Plate" userId="ed8ff092-8995-4993-845b-21c8a164b889" providerId="ADAL" clId="{8EC2DDE8-55CA-4417-BE68-FC755CA52417}" dt="2021-11-08T13:49:51.863" v="235" actId="20577"/>
          <ac:spMkLst>
            <pc:docMk/>
            <pc:sldMk cId="1100124780" sldId="1071"/>
            <ac:spMk id="26" creationId="{D1F6C32E-E5CA-964A-BFFA-E5AC4EF135DE}"/>
          </ac:spMkLst>
        </pc:spChg>
        <pc:spChg chg="mod">
          <ac:chgData name="Sascha Plate" userId="ed8ff092-8995-4993-845b-21c8a164b889" providerId="ADAL" clId="{8EC2DDE8-55CA-4417-BE68-FC755CA52417}" dt="2021-11-08T13:50:02.456" v="246" actId="20577"/>
          <ac:spMkLst>
            <pc:docMk/>
            <pc:sldMk cId="1100124780" sldId="1071"/>
            <ac:spMk id="27" creationId="{C792B7B7-9256-9149-BB8F-06421B71202E}"/>
          </ac:spMkLst>
        </pc:spChg>
        <pc:spChg chg="mod">
          <ac:chgData name="Sascha Plate" userId="ed8ff092-8995-4993-845b-21c8a164b889" providerId="ADAL" clId="{8EC2DDE8-55CA-4417-BE68-FC755CA52417}" dt="2021-11-08T13:50:30.940" v="258" actId="20577"/>
          <ac:spMkLst>
            <pc:docMk/>
            <pc:sldMk cId="1100124780" sldId="1071"/>
            <ac:spMk id="28" creationId="{70FABAAD-FE7C-9E47-A7D3-AA3E92C944C0}"/>
          </ac:spMkLst>
        </pc:spChg>
        <pc:spChg chg="mod">
          <ac:chgData name="Sascha Plate" userId="ed8ff092-8995-4993-845b-21c8a164b889" providerId="ADAL" clId="{8EC2DDE8-55CA-4417-BE68-FC755CA52417}" dt="2021-11-08T13:50:38.946" v="269" actId="20577"/>
          <ac:spMkLst>
            <pc:docMk/>
            <pc:sldMk cId="1100124780" sldId="1071"/>
            <ac:spMk id="29" creationId="{D7C9A38C-02BF-2849-8C8D-37E796ED1918}"/>
          </ac:spMkLst>
        </pc:spChg>
        <pc:spChg chg="mod">
          <ac:chgData name="Sascha Plate" userId="ed8ff092-8995-4993-845b-21c8a164b889" providerId="ADAL" clId="{8EC2DDE8-55CA-4417-BE68-FC755CA52417}" dt="2021-11-08T13:46:33.907" v="115" actId="20577"/>
          <ac:spMkLst>
            <pc:docMk/>
            <pc:sldMk cId="1100124780" sldId="1071"/>
            <ac:spMk id="30" creationId="{83F48DDE-DBB5-3A43-B076-FCED2D5A1861}"/>
          </ac:spMkLst>
        </pc:spChg>
        <pc:spChg chg="del mod">
          <ac:chgData name="Sascha Plate" userId="ed8ff092-8995-4993-845b-21c8a164b889" providerId="ADAL" clId="{8EC2DDE8-55CA-4417-BE68-FC755CA52417}" dt="2021-11-08T14:00:01.725" v="388" actId="478"/>
          <ac:spMkLst>
            <pc:docMk/>
            <pc:sldMk cId="1100124780" sldId="1071"/>
            <ac:spMk id="31" creationId="{9EBFA4DC-0F4C-A64F-B1CC-65F4E6947510}"/>
          </ac:spMkLst>
        </pc:spChg>
        <pc:spChg chg="mod">
          <ac:chgData name="Sascha Plate" userId="ed8ff092-8995-4993-845b-21c8a164b889" providerId="ADAL" clId="{8EC2DDE8-55CA-4417-BE68-FC755CA52417}" dt="2021-11-08T13:41:08.121" v="78" actId="20577"/>
          <ac:spMkLst>
            <pc:docMk/>
            <pc:sldMk cId="1100124780" sldId="1071"/>
            <ac:spMk id="32" creationId="{87431E54-462C-DB4D-A402-66C445C6AB49}"/>
          </ac:spMkLst>
        </pc:spChg>
        <pc:spChg chg="mod">
          <ac:chgData name="Sascha Plate" userId="ed8ff092-8995-4993-845b-21c8a164b889" providerId="ADAL" clId="{8EC2DDE8-55CA-4417-BE68-FC755CA52417}" dt="2021-11-08T13:47:47.081" v="139" actId="20577"/>
          <ac:spMkLst>
            <pc:docMk/>
            <pc:sldMk cId="1100124780" sldId="1071"/>
            <ac:spMk id="33" creationId="{28D1F757-BC14-E84E-8B8E-48DFF4B2AFD5}"/>
          </ac:spMkLst>
        </pc:spChg>
        <pc:spChg chg="mod">
          <ac:chgData name="Sascha Plate" userId="ed8ff092-8995-4993-845b-21c8a164b889" providerId="ADAL" clId="{8EC2DDE8-55CA-4417-BE68-FC755CA52417}" dt="2021-11-08T13:59:59.843" v="387"/>
          <ac:spMkLst>
            <pc:docMk/>
            <pc:sldMk cId="1100124780" sldId="1071"/>
            <ac:spMk id="34" creationId="{298DA043-CCCC-F04F-90C8-F5C0509D2A80}"/>
          </ac:spMkLst>
        </pc:spChg>
        <pc:spChg chg="mod">
          <ac:chgData name="Sascha Plate" userId="ed8ff092-8995-4993-845b-21c8a164b889" providerId="ADAL" clId="{8EC2DDE8-55CA-4417-BE68-FC755CA52417}" dt="2021-11-08T13:46:25.693" v="110" actId="20577"/>
          <ac:spMkLst>
            <pc:docMk/>
            <pc:sldMk cId="1100124780" sldId="1071"/>
            <ac:spMk id="35" creationId="{06A0BB67-7F53-904E-AB20-AAAD765991AD}"/>
          </ac:spMkLst>
        </pc:spChg>
        <pc:spChg chg="mod">
          <ac:chgData name="Sascha Plate" userId="ed8ff092-8995-4993-845b-21c8a164b889" providerId="ADAL" clId="{8EC2DDE8-55CA-4417-BE68-FC755CA52417}" dt="2021-11-08T13:49:01.689" v="217" actId="20577"/>
          <ac:spMkLst>
            <pc:docMk/>
            <pc:sldMk cId="1100124780" sldId="1071"/>
            <ac:spMk id="36" creationId="{284797D7-B2C0-8D40-9F99-0EABE37DD2BF}"/>
          </ac:spMkLst>
        </pc:spChg>
        <pc:spChg chg="del">
          <ac:chgData name="Sascha Plate" userId="ed8ff092-8995-4993-845b-21c8a164b889" providerId="ADAL" clId="{8EC2DDE8-55CA-4417-BE68-FC755CA52417}" dt="2021-11-08T14:00:04.240" v="389" actId="478"/>
          <ac:spMkLst>
            <pc:docMk/>
            <pc:sldMk cId="1100124780" sldId="1071"/>
            <ac:spMk id="37" creationId="{C4FBB4B8-54C4-C140-8F4B-94B80DF42270}"/>
          </ac:spMkLst>
        </pc:spChg>
        <pc:spChg chg="del">
          <ac:chgData name="Sascha Plate" userId="ed8ff092-8995-4993-845b-21c8a164b889" providerId="ADAL" clId="{8EC2DDE8-55CA-4417-BE68-FC755CA52417}" dt="2021-11-08T14:32:21.799" v="455" actId="478"/>
          <ac:spMkLst>
            <pc:docMk/>
            <pc:sldMk cId="1100124780" sldId="1071"/>
            <ac:spMk id="38" creationId="{FF307D42-34B5-724D-9197-0BA9EB5846A3}"/>
          </ac:spMkLst>
        </pc:spChg>
        <pc:spChg chg="del mod">
          <ac:chgData name="Sascha Plate" userId="ed8ff092-8995-4993-845b-21c8a164b889" providerId="ADAL" clId="{8EC2DDE8-55CA-4417-BE68-FC755CA52417}" dt="2021-11-08T14:32:22.642" v="457" actId="478"/>
          <ac:spMkLst>
            <pc:docMk/>
            <pc:sldMk cId="1100124780" sldId="1071"/>
            <ac:spMk id="39" creationId="{1CD046B3-AC10-4646-A399-50108935047F}"/>
          </ac:spMkLst>
        </pc:spChg>
        <pc:spChg chg="del">
          <ac:chgData name="Sascha Plate" userId="ed8ff092-8995-4993-845b-21c8a164b889" providerId="ADAL" clId="{8EC2DDE8-55CA-4417-BE68-FC755CA52417}" dt="2021-11-08T14:32:23.494" v="458" actId="478"/>
          <ac:spMkLst>
            <pc:docMk/>
            <pc:sldMk cId="1100124780" sldId="1071"/>
            <ac:spMk id="40" creationId="{4AEDFB44-28E2-4040-8315-CB82303CCD85}"/>
          </ac:spMkLst>
        </pc:spChg>
        <pc:spChg chg="mod">
          <ac:chgData name="Sascha Plate" userId="ed8ff092-8995-4993-845b-21c8a164b889" providerId="ADAL" clId="{8EC2DDE8-55CA-4417-BE68-FC755CA52417}" dt="2021-11-08T13:53:19.659" v="331" actId="2"/>
          <ac:spMkLst>
            <pc:docMk/>
            <pc:sldMk cId="1100124780" sldId="1071"/>
            <ac:spMk id="41" creationId="{886FCF85-DC48-8A42-A558-EBAF9804C547}"/>
          </ac:spMkLst>
        </pc:spChg>
        <pc:spChg chg="mod">
          <ac:chgData name="Sascha Plate" userId="ed8ff092-8995-4993-845b-21c8a164b889" providerId="ADAL" clId="{8EC2DDE8-55CA-4417-BE68-FC755CA52417}" dt="2021-11-08T13:53:26.488" v="333" actId="2"/>
          <ac:spMkLst>
            <pc:docMk/>
            <pc:sldMk cId="1100124780" sldId="1071"/>
            <ac:spMk id="42" creationId="{4A27E050-DF6F-214A-A1DF-4C02A4A83140}"/>
          </ac:spMkLst>
        </pc:spChg>
      </pc:sldChg>
      <pc:sldChg chg="modSp mod">
        <pc:chgData name="Sascha Plate" userId="ed8ff092-8995-4993-845b-21c8a164b889" providerId="ADAL" clId="{8EC2DDE8-55CA-4417-BE68-FC755CA52417}" dt="2021-11-08T14:02:56.711" v="421"/>
        <pc:sldMkLst>
          <pc:docMk/>
          <pc:sldMk cId="1259679593" sldId="1072"/>
        </pc:sldMkLst>
        <pc:spChg chg="mod">
          <ac:chgData name="Sascha Plate" userId="ed8ff092-8995-4993-845b-21c8a164b889" providerId="ADAL" clId="{8EC2DDE8-55CA-4417-BE68-FC755CA52417}" dt="2021-11-08T14:02:56.711" v="421"/>
          <ac:spMkLst>
            <pc:docMk/>
            <pc:sldMk cId="1259679593" sldId="1072"/>
            <ac:spMk id="8" creationId="{B453606B-A0E8-41C5-B886-D3631503398E}"/>
          </ac:spMkLst>
        </pc:spChg>
      </pc:sldChg>
      <pc:sldChg chg="modSp mod">
        <pc:chgData name="Sascha Plate" userId="ed8ff092-8995-4993-845b-21c8a164b889" providerId="ADAL" clId="{8EC2DDE8-55CA-4417-BE68-FC755CA52417}" dt="2021-11-08T14:03:21.107" v="427"/>
        <pc:sldMkLst>
          <pc:docMk/>
          <pc:sldMk cId="1866687839" sldId="1073"/>
        </pc:sldMkLst>
        <pc:spChg chg="mod">
          <ac:chgData name="Sascha Plate" userId="ed8ff092-8995-4993-845b-21c8a164b889" providerId="ADAL" clId="{8EC2DDE8-55CA-4417-BE68-FC755CA52417}" dt="2021-11-08T14:03:21.107" v="427"/>
          <ac:spMkLst>
            <pc:docMk/>
            <pc:sldMk cId="1866687839" sldId="1073"/>
            <ac:spMk id="7" creationId="{24A19E4D-1141-48EA-875E-07D9F876A23D}"/>
          </ac:spMkLst>
        </pc:spChg>
      </pc:sldChg>
    </pc:docChg>
  </pc:docChgLst>
  <pc:docChgLst>
    <pc:chgData name="Sascha Plate" userId="ed8ff092-8995-4993-845b-21c8a164b889" providerId="ADAL" clId="{442D3CB8-7EB4-473E-AC96-729CC6E4D148}"/>
    <pc:docChg chg="modSld">
      <pc:chgData name="Sascha Plate" userId="ed8ff092-8995-4993-845b-21c8a164b889" providerId="ADAL" clId="{442D3CB8-7EB4-473E-AC96-729CC6E4D148}" dt="2021-12-06T10:13:27.077" v="16" actId="1076"/>
      <pc:docMkLst>
        <pc:docMk/>
      </pc:docMkLst>
      <pc:sldChg chg="modSp mod">
        <pc:chgData name="Sascha Plate" userId="ed8ff092-8995-4993-845b-21c8a164b889" providerId="ADAL" clId="{442D3CB8-7EB4-473E-AC96-729CC6E4D148}" dt="2021-12-06T10:12:45.813" v="13" actId="20577"/>
        <pc:sldMkLst>
          <pc:docMk/>
          <pc:sldMk cId="0" sldId="402"/>
        </pc:sldMkLst>
        <pc:spChg chg="mod">
          <ac:chgData name="Sascha Plate" userId="ed8ff092-8995-4993-845b-21c8a164b889" providerId="ADAL" clId="{442D3CB8-7EB4-473E-AC96-729CC6E4D148}" dt="2021-12-06T10:12:45.813" v="13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442D3CB8-7EB4-473E-AC96-729CC6E4D148}" dt="2021-12-06T10:13:27.077" v="16" actId="1076"/>
        <pc:sldMkLst>
          <pc:docMk/>
          <pc:sldMk cId="4265109478" sldId="938"/>
        </pc:sldMkLst>
        <pc:spChg chg="mod">
          <ac:chgData name="Sascha Plate" userId="ed8ff092-8995-4993-845b-21c8a164b889" providerId="ADAL" clId="{442D3CB8-7EB4-473E-AC96-729CC6E4D148}" dt="2021-12-06T10:13:27.077" v="16" actId="1076"/>
          <ac:spMkLst>
            <pc:docMk/>
            <pc:sldMk cId="4265109478" sldId="938"/>
            <ac:spMk id="14" creationId="{52D0B4F8-0839-4377-B76C-D03DDB2250F1}"/>
          </ac:spMkLst>
        </pc:spChg>
        <pc:cxnChg chg="mod">
          <ac:chgData name="Sascha Plate" userId="ed8ff092-8995-4993-845b-21c8a164b889" providerId="ADAL" clId="{442D3CB8-7EB4-473E-AC96-729CC6E4D148}" dt="2021-12-06T10:13:20.826" v="15" actId="1076"/>
          <ac:cxnSpMkLst>
            <pc:docMk/>
            <pc:sldMk cId="4265109478" sldId="938"/>
            <ac:cxnSpMk id="13" creationId="{7515589A-A287-4E51-A79E-07D8C7D177E8}"/>
          </ac:cxnSpMkLst>
        </pc:cxnChg>
      </pc:sldChg>
      <pc:sldChg chg="modSp mod">
        <pc:chgData name="Sascha Plate" userId="ed8ff092-8995-4993-845b-21c8a164b889" providerId="ADAL" clId="{442D3CB8-7EB4-473E-AC96-729CC6E4D148}" dt="2021-11-22T20:04:47.465" v="3" actId="20577"/>
        <pc:sldMkLst>
          <pc:docMk/>
          <pc:sldMk cId="3271825444" sldId="947"/>
        </pc:sldMkLst>
        <pc:spChg chg="mod">
          <ac:chgData name="Sascha Plate" userId="ed8ff092-8995-4993-845b-21c8a164b889" providerId="ADAL" clId="{442D3CB8-7EB4-473E-AC96-729CC6E4D148}" dt="2021-11-22T20:04:47.465" v="3" actId="20577"/>
          <ac:spMkLst>
            <pc:docMk/>
            <pc:sldMk cId="3271825444" sldId="947"/>
            <ac:spMk id="11" creationId="{0A9D4812-C3AB-4CA8-9030-61C9F0D731C4}"/>
          </ac:spMkLst>
        </pc:spChg>
      </pc:sldChg>
    </pc:docChg>
  </pc:docChgLst>
  <pc:docChgLst>
    <pc:chgData name="Sascha Plate" userId="ed8ff092-8995-4993-845b-21c8a164b889" providerId="ADAL" clId="{D5DE2EC5-D376-43A5-B900-7F060FA30BBF}"/>
    <pc:docChg chg="undo custSel modSld">
      <pc:chgData name="Sascha Plate" userId="ed8ff092-8995-4993-845b-21c8a164b889" providerId="ADAL" clId="{D5DE2EC5-D376-43A5-B900-7F060FA30BBF}" dt="2021-11-01T12:41:27.174" v="736" actId="1076"/>
      <pc:docMkLst>
        <pc:docMk/>
      </pc:docMkLst>
      <pc:sldChg chg="modSp mod">
        <pc:chgData name="Sascha Plate" userId="ed8ff092-8995-4993-845b-21c8a164b889" providerId="ADAL" clId="{D5DE2EC5-D376-43A5-B900-7F060FA30BBF}" dt="2021-11-01T12:38:10.151" v="696" actId="732"/>
        <pc:sldMkLst>
          <pc:docMk/>
          <pc:sldMk cId="386723065" sldId="943"/>
        </pc:sldMkLst>
        <pc:picChg chg="mod modCrop">
          <ac:chgData name="Sascha Plate" userId="ed8ff092-8995-4993-845b-21c8a164b889" providerId="ADAL" clId="{D5DE2EC5-D376-43A5-B900-7F060FA30BBF}" dt="2021-11-01T12:38:10.151" v="696" actId="732"/>
          <ac:picMkLst>
            <pc:docMk/>
            <pc:sldMk cId="386723065" sldId="943"/>
            <ac:picMk id="3" creationId="{94FD6BA2-6B97-4D41-B991-C54DF0E03AA6}"/>
          </ac:picMkLst>
        </pc:picChg>
      </pc:sldChg>
      <pc:sldChg chg="modSp mod">
        <pc:chgData name="Sascha Plate" userId="ed8ff092-8995-4993-845b-21c8a164b889" providerId="ADAL" clId="{D5DE2EC5-D376-43A5-B900-7F060FA30BBF}" dt="2021-11-01T12:37:22.588" v="686" actId="403"/>
        <pc:sldMkLst>
          <pc:docMk/>
          <pc:sldMk cId="253587772" sldId="944"/>
        </pc:sldMkLst>
        <pc:graphicFrameChg chg="modGraphic">
          <ac:chgData name="Sascha Plate" userId="ed8ff092-8995-4993-845b-21c8a164b889" providerId="ADAL" clId="{D5DE2EC5-D376-43A5-B900-7F060FA30BBF}" dt="2021-11-01T12:37:02.041" v="665" actId="20577"/>
          <ac:graphicFrameMkLst>
            <pc:docMk/>
            <pc:sldMk cId="253587772" sldId="944"/>
            <ac:graphicFrameMk id="28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4.248" v="668" actId="20577"/>
          <ac:graphicFrameMkLst>
            <pc:docMk/>
            <pc:sldMk cId="253587772" sldId="944"/>
            <ac:graphicFrameMk id="29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9.639" v="672" actId="403"/>
          <ac:graphicFrameMkLst>
            <pc:docMk/>
            <pc:sldMk cId="253587772" sldId="944"/>
            <ac:graphicFrameMk id="30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6:55.425" v="660" actId="403"/>
          <ac:graphicFrameMkLst>
            <pc:docMk/>
            <pc:sldMk cId="253587772" sldId="944"/>
            <ac:graphicFrameMk id="31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3.591" v="667" actId="20577"/>
          <ac:graphicFrameMkLst>
            <pc:docMk/>
            <pc:sldMk cId="253587772" sldId="944"/>
            <ac:graphicFrameMk id="32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4.584" v="678" actId="404"/>
          <ac:graphicFrameMkLst>
            <pc:docMk/>
            <pc:sldMk cId="253587772" sldId="944"/>
            <ac:graphicFrameMk id="33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2.632" v="666" actId="20577"/>
          <ac:graphicFrameMkLst>
            <pc:docMk/>
            <pc:sldMk cId="253587772" sldId="944"/>
            <ac:graphicFrameMk id="34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22.588" v="686" actId="403"/>
          <ac:graphicFrameMkLst>
            <pc:docMk/>
            <pc:sldMk cId="253587772" sldId="944"/>
            <ac:graphicFrameMk id="35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8.704" v="682" actId="403"/>
          <ac:graphicFrameMkLst>
            <pc:docMk/>
            <pc:sldMk cId="253587772" sldId="944"/>
            <ac:graphicFrameMk id="36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D5DE2EC5-D376-43A5-B900-7F060FA30BBF}" dt="2021-11-01T12:28:38.240" v="655" actId="20577"/>
        <pc:sldMkLst>
          <pc:docMk/>
          <pc:sldMk cId="2967974404" sldId="945"/>
        </pc:sldMkLst>
        <pc:spChg chg="mod">
          <ac:chgData name="Sascha Plate" userId="ed8ff092-8995-4993-845b-21c8a164b889" providerId="ADAL" clId="{D5DE2EC5-D376-43A5-B900-7F060FA30BBF}" dt="2021-11-01T12:28:25.301" v="654" actId="403"/>
          <ac:spMkLst>
            <pc:docMk/>
            <pc:sldMk cId="2967974404" sldId="945"/>
            <ac:spMk id="11" creationId="{0A9D4812-C3AB-4CA8-9030-61C9F0D731C4}"/>
          </ac:spMkLst>
        </pc:spChg>
        <pc:spChg chg="mod">
          <ac:chgData name="Sascha Plate" userId="ed8ff092-8995-4993-845b-21c8a164b889" providerId="ADAL" clId="{D5DE2EC5-D376-43A5-B900-7F060FA30BBF}" dt="2021-11-01T12:28:38.240" v="655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addSp modSp mod">
        <pc:chgData name="Sascha Plate" userId="ed8ff092-8995-4993-845b-21c8a164b889" providerId="ADAL" clId="{D5DE2EC5-D376-43A5-B900-7F060FA30BBF}" dt="2021-11-01T12:41:27.174" v="736" actId="1076"/>
        <pc:sldMkLst>
          <pc:docMk/>
          <pc:sldMk cId="1866687839" sldId="1073"/>
        </pc:sldMkLst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4" creationId="{8FF77E66-03C7-430A-8465-DF976E29C2ED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5" creationId="{EB80C244-AEB8-40A2-B69C-B4FC0C3C087A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6" creationId="{3C1D810B-ED80-485A-9647-4E82E3DF2EA2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7" creationId="{03A0163F-1986-4D4F-B266-ACAE212F4AE6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29" creationId="{280BE7EE-F7AF-4DD4-8C19-DB6EC5AD0414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0" creationId="{4F006D8E-BA09-4CAF-A361-608F15CED7E3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1" creationId="{F1C20F40-4262-4744-8B9F-03E237D437D8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2" creationId="{0C9E78B7-F58F-42EA-B1E4-2B1EFB4D271B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4" creationId="{BA4C5C3D-0CC2-4E4A-BC5F-3F6829B6343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5" creationId="{2761A3D7-0CBD-4AB4-A5A5-8C0F7A6A236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6" creationId="{E6FFF198-746E-493A-84DA-BDBCBDD0DC75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7" creationId="{B0E1518B-33B5-49C6-846A-629F206060CF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39" creationId="{F8D11363-F84A-4C07-AFFC-3AB48882FCFC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0" creationId="{93AD439C-C1AC-4E9E-8A40-FC5A50908019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1" creationId="{E330B0CA-BF75-4582-96BD-C1B0768DCD65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2" creationId="{2602D407-8C54-48D2-BAA4-9000E9A1A324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4" creationId="{C0E83A6E-6260-42F2-A630-A07D6E68DAC5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5" creationId="{512B2053-D7A7-4FDB-AA81-C651932FD87C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6" creationId="{7D1EF024-AB7B-4636-85A7-C7A77C505F1E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7" creationId="{220785D7-5D24-4040-AC44-CE34CB1E8DCF}"/>
          </ac:spMkLst>
        </pc:spChg>
        <pc:grpChg chg="add mod">
          <ac:chgData name="Sascha Plate" userId="ed8ff092-8995-4993-845b-21c8a164b889" providerId="ADAL" clId="{D5DE2EC5-D376-43A5-B900-7F060FA30BBF}" dt="2021-11-01T12:40:48.159" v="721" actId="1076"/>
          <ac:grpSpMkLst>
            <pc:docMk/>
            <pc:sldMk cId="1866687839" sldId="1073"/>
            <ac:grpSpMk id="23" creationId="{C87BFDB8-4588-428F-812D-A3D03C4DFA61}"/>
          </ac:grpSpMkLst>
        </pc:grpChg>
        <pc:grpChg chg="add mod">
          <ac:chgData name="Sascha Plate" userId="ed8ff092-8995-4993-845b-21c8a164b889" providerId="ADAL" clId="{D5DE2EC5-D376-43A5-B900-7F060FA30BBF}" dt="2021-11-01T12:40:43.491" v="720" actId="1076"/>
          <ac:grpSpMkLst>
            <pc:docMk/>
            <pc:sldMk cId="1866687839" sldId="1073"/>
            <ac:grpSpMk id="28" creationId="{C6BD9AE1-3972-4F54-A2AB-C9698DA199AC}"/>
          </ac:grpSpMkLst>
        </pc:grpChg>
        <pc:grpChg chg="add mod">
          <ac:chgData name="Sascha Plate" userId="ed8ff092-8995-4993-845b-21c8a164b889" providerId="ADAL" clId="{D5DE2EC5-D376-43A5-B900-7F060FA30BBF}" dt="2021-11-01T12:40:57.843" v="723" actId="1076"/>
          <ac:grpSpMkLst>
            <pc:docMk/>
            <pc:sldMk cId="1866687839" sldId="1073"/>
            <ac:grpSpMk id="33" creationId="{88A4DC42-C1F7-40E8-8F2B-331146B9640C}"/>
          </ac:grpSpMkLst>
        </pc:grpChg>
        <pc:grpChg chg="add mod">
          <ac:chgData name="Sascha Plate" userId="ed8ff092-8995-4993-845b-21c8a164b889" providerId="ADAL" clId="{D5DE2EC5-D376-43A5-B900-7F060FA30BBF}" dt="2021-11-01T12:41:06.425" v="725" actId="1076"/>
          <ac:grpSpMkLst>
            <pc:docMk/>
            <pc:sldMk cId="1866687839" sldId="1073"/>
            <ac:grpSpMk id="38" creationId="{0309C939-0CE0-4C6A-8758-805704B051FE}"/>
          </ac:grpSpMkLst>
        </pc:grpChg>
        <pc:grpChg chg="add mod">
          <ac:chgData name="Sascha Plate" userId="ed8ff092-8995-4993-845b-21c8a164b889" providerId="ADAL" clId="{D5DE2EC5-D376-43A5-B900-7F060FA30BBF}" dt="2021-11-01T12:41:27.174" v="736" actId="1076"/>
          <ac:grpSpMkLst>
            <pc:docMk/>
            <pc:sldMk cId="1866687839" sldId="1073"/>
            <ac:grpSpMk id="43" creationId="{99EC53F5-F54E-4AFA-8BEC-FE814161CAEC}"/>
          </ac:grpSpMkLst>
        </pc:grpChg>
        <pc:graphicFrameChg chg="mod modGraphic">
          <ac:chgData name="Sascha Plate" userId="ed8ff092-8995-4993-845b-21c8a164b889" providerId="ADAL" clId="{D5DE2EC5-D376-43A5-B900-7F060FA30BBF}" dt="2021-11-01T12:41:18.132" v="734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  <pc:docChgLst>
    <pc:chgData name="Sascha Plate" userId="ed8ff092-8995-4993-845b-21c8a164b889" providerId="ADAL" clId="{1FF68CEF-DC85-4C61-8FC5-B320657CA44F}"/>
    <pc:docChg chg="modSld">
      <pc:chgData name="Sascha Plate" userId="ed8ff092-8995-4993-845b-21c8a164b889" providerId="ADAL" clId="{1FF68CEF-DC85-4C61-8FC5-B320657CA44F}" dt="2021-12-13T18:49:07.007" v="16" actId="20577"/>
      <pc:docMkLst>
        <pc:docMk/>
      </pc:docMkLst>
      <pc:sldChg chg="modSp mod">
        <pc:chgData name="Sascha Plate" userId="ed8ff092-8995-4993-845b-21c8a164b889" providerId="ADAL" clId="{1FF68CEF-DC85-4C61-8FC5-B320657CA44F}" dt="2021-12-13T18:49:07.007" v="16" actId="20577"/>
        <pc:sldMkLst>
          <pc:docMk/>
          <pc:sldMk cId="3904258734" sldId="942"/>
        </pc:sldMkLst>
        <pc:graphicFrameChg chg="modGraphic">
          <ac:chgData name="Sascha Plate" userId="ed8ff092-8995-4993-845b-21c8a164b889" providerId="ADAL" clId="{1FF68CEF-DC85-4C61-8FC5-B320657CA44F}" dt="2021-12-13T18:49:07.007" v="16" actId="2057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1FF68CEF-DC85-4C61-8FC5-B320657CA44F}" dt="2021-12-13T18:48:49.482" v="0" actId="20577"/>
        <pc:sldMkLst>
          <pc:docMk/>
          <pc:sldMk cId="1866687839" sldId="1073"/>
        </pc:sldMkLst>
        <pc:graphicFrameChg chg="modGraphic">
          <ac:chgData name="Sascha Plate" userId="ed8ff092-8995-4993-845b-21c8a164b889" providerId="ADAL" clId="{1FF68CEF-DC85-4C61-8FC5-B320657CA44F}" dt="2021-12-13T18:48:49.482" v="0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79625" y="536575"/>
            <a:ext cx="11018838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012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829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002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960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196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70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49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90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993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870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402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1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2842609"/>
      </p:ext>
    </p:extLst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29846560"/>
      </p:ext>
    </p:extLst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0909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57849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883256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352288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06530802"/>
      </p:ext>
    </p:extLst>
  </p:cSld>
  <p:clrMapOvr>
    <a:masterClrMapping/>
  </p:clrMapOvr>
  <p:transition>
    <p:dissolv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9645348"/>
      </p:ext>
    </p:extLst>
  </p:cSld>
  <p:clrMapOvr>
    <a:masterClrMapping/>
  </p:clrMapOvr>
  <p:transition>
    <p:dissolv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8222561"/>
      </p:ext>
    </p:extLst>
  </p:cSld>
  <p:clrMapOvr>
    <a:masterClrMapping/>
  </p:clrMapOvr>
  <p:transition>
    <p:dissolv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9134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45887"/>
      </p:ext>
    </p:extLst>
  </p:cSld>
  <p:clrMapOvr>
    <a:masterClrMapping/>
  </p:clrMapOvr>
  <p:transition>
    <p:dissolv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024177"/>
      </p:ext>
    </p:extLst>
  </p:cSld>
  <p:clrMapOvr>
    <a:masterClrMapping/>
  </p:clrMapOvr>
  <p:transition>
    <p:dissolv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9742768"/>
      </p:ext>
    </p:extLst>
  </p:cSld>
  <p:clrMapOvr>
    <a:masterClrMapping/>
  </p:clrMapOvr>
  <p:transition>
    <p:dissolv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8065169"/>
      </p:ext>
    </p:extLst>
  </p:cSld>
  <p:clrMapOvr>
    <a:masterClrMapping/>
  </p:clrMapOvr>
  <p:transition>
    <p:dissolv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3596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2383123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0795583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2272731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4615124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585892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676727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849936"/>
      </p:ext>
    </p:extLst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452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8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470" name="Text Box 6"/>
          <p:cNvSpPr txBox="1">
            <a:spLocks noChangeArrowheads="1"/>
          </p:cNvSpPr>
          <p:nvPr/>
        </p:nvSpPr>
        <p:spPr bwMode="auto">
          <a:xfrm>
            <a:off x="573088" y="573088"/>
            <a:ext cx="80740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Studiengang Wirtschaftsinformatik</a:t>
            </a:r>
          </a:p>
        </p:txBody>
      </p:sp>
      <p:sp>
        <p:nvSpPr>
          <p:cNvPr id="702482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Intelligence</a:t>
            </a:r>
            <a:r>
              <a:rPr lang="de-DE" dirty="0"/>
              <a:t> 1 (Informationsmanagement)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982366" y="1941205"/>
            <a:ext cx="7237998" cy="3286577"/>
          </a:xfrm>
          <a:prstGeom prst="rect">
            <a:avLst/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710" y="2245665"/>
            <a:ext cx="6182077" cy="292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2400" dirty="0">
                <a:solidFill>
                  <a:schemeClr val="tx1"/>
                </a:solidFill>
              </a:rPr>
              <a:t>Klassifizierung am Beispiel Elektrofahrzeug </a:t>
            </a:r>
          </a:p>
          <a:p>
            <a:pPr algn="l"/>
            <a:r>
              <a:rPr lang="de-DE" sz="2400" dirty="0" err="1">
                <a:solidFill>
                  <a:schemeClr val="tx1"/>
                </a:solidFill>
              </a:rPr>
              <a:t>Karpador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r>
              <a:rPr lang="de-DE" sz="2000" dirty="0">
                <a:solidFill>
                  <a:schemeClr val="tx1"/>
                </a:solidFill>
              </a:rPr>
              <a:t>Zwischenbericht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Timo Frank, Williams </a:t>
            </a:r>
            <a:r>
              <a:rPr lang="de-DE" sz="1800" dirty="0" err="1">
                <a:solidFill>
                  <a:schemeClr val="tx1"/>
                </a:solidFill>
              </a:rPr>
              <a:t>Woutakno</a:t>
            </a:r>
            <a:r>
              <a:rPr lang="de-DE" sz="1800" dirty="0">
                <a:solidFill>
                  <a:schemeClr val="tx1"/>
                </a:solidFill>
              </a:rPr>
              <a:t>, Sascha Plate</a:t>
            </a: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Stand: 22.11.202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EAD61C2-0E9C-41EC-9BA6-E02A66A28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1467267"/>
              </p:ext>
            </p:extLst>
          </p:nvPr>
        </p:nvGraphicFramePr>
        <p:xfrm>
          <a:off x="500331" y="1586783"/>
          <a:ext cx="8138157" cy="189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Finale Tes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ießen der Projektdok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Erstellen der Abschlusspräs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usspräsentation hal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dokumentation pf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</a:tbl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FE54311D-E828-4C3E-9BD8-08581894B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4A19E4D-1141-48EA-875E-07D9F876A2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A83F8E-C420-4BCB-8694-E31A7BAEA941}"/>
              </a:ext>
            </a:extLst>
          </p:cNvPr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9" name="desk1">
              <a:extLst>
                <a:ext uri="{FF2B5EF4-FFF2-40B4-BE49-F238E27FC236}">
                  <a16:creationId xmlns:a16="http://schemas.microsoft.com/office/drawing/2014/main" id="{1C406C26-F28B-4C46-AFE7-B02A01533FD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01ED5B59-D6E6-4E3E-869F-7F0E3AD9853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Oval 49">
              <a:extLst>
                <a:ext uri="{FF2B5EF4-FFF2-40B4-BE49-F238E27FC236}">
                  <a16:creationId xmlns:a16="http://schemas.microsoft.com/office/drawing/2014/main" id="{2655CDFD-4872-4A3A-8784-9CE446EFC8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" name="Oval 49">
              <a:extLst>
                <a:ext uri="{FF2B5EF4-FFF2-40B4-BE49-F238E27FC236}">
                  <a16:creationId xmlns:a16="http://schemas.microsoft.com/office/drawing/2014/main" id="{433FE952-D89D-4238-9038-56FF7100C2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uppieren 48">
            <a:extLst>
              <a:ext uri="{FF2B5EF4-FFF2-40B4-BE49-F238E27FC236}">
                <a16:creationId xmlns:a16="http://schemas.microsoft.com/office/drawing/2014/main" id="{31FB96A4-BCAF-4E79-BB00-82FCC40EE1D9}"/>
              </a:ext>
            </a:extLst>
          </p:cNvPr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14" name="desk1">
              <a:extLst>
                <a:ext uri="{FF2B5EF4-FFF2-40B4-BE49-F238E27FC236}">
                  <a16:creationId xmlns:a16="http://schemas.microsoft.com/office/drawing/2014/main" id="{5DF0AEC9-63CA-40FF-AAA7-E0730C0757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5" name="Oval 18">
              <a:extLst>
                <a:ext uri="{FF2B5EF4-FFF2-40B4-BE49-F238E27FC236}">
                  <a16:creationId xmlns:a16="http://schemas.microsoft.com/office/drawing/2014/main" id="{C588BA55-D68B-4557-9D72-A766BCB53E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Oval 49">
              <a:extLst>
                <a:ext uri="{FF2B5EF4-FFF2-40B4-BE49-F238E27FC236}">
                  <a16:creationId xmlns:a16="http://schemas.microsoft.com/office/drawing/2014/main" id="{62E0BC09-36FE-4909-932F-DC8C8BDBB8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5B64443A-CB11-42FE-849B-237595B387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D8A6E7-EB08-4EC2-9908-402509129149}"/>
              </a:ext>
            </a:extLst>
          </p:cNvPr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19" name="desk1">
              <a:extLst>
                <a:ext uri="{FF2B5EF4-FFF2-40B4-BE49-F238E27FC236}">
                  <a16:creationId xmlns:a16="http://schemas.microsoft.com/office/drawing/2014/main" id="{396FE7A3-F999-4788-B4D0-BAAF31CA8D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0" name="Oval 49">
              <a:extLst>
                <a:ext uri="{FF2B5EF4-FFF2-40B4-BE49-F238E27FC236}">
                  <a16:creationId xmlns:a16="http://schemas.microsoft.com/office/drawing/2014/main" id="{2562CD92-72C6-40E4-B108-CA363449390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Oval 49">
              <a:extLst>
                <a:ext uri="{FF2B5EF4-FFF2-40B4-BE49-F238E27FC236}">
                  <a16:creationId xmlns:a16="http://schemas.microsoft.com/office/drawing/2014/main" id="{CE15300C-AD44-4EC9-A064-E2994D2027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019602FD-4B59-44B3-96B0-9D281F7203F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87BFDB8-4588-428F-812D-A3D03C4DFA61}"/>
              </a:ext>
            </a:extLst>
          </p:cNvPr>
          <p:cNvGrpSpPr/>
          <p:nvPr/>
        </p:nvGrpSpPr>
        <p:grpSpPr>
          <a:xfrm>
            <a:off x="8006133" y="2030356"/>
            <a:ext cx="500063" cy="157162"/>
            <a:chOff x="5857875" y="5690627"/>
            <a:chExt cx="500063" cy="157162"/>
          </a:xfrm>
        </p:grpSpPr>
        <p:sp>
          <p:nvSpPr>
            <p:cNvPr id="24" name="desk1">
              <a:extLst>
                <a:ext uri="{FF2B5EF4-FFF2-40B4-BE49-F238E27FC236}">
                  <a16:creationId xmlns:a16="http://schemas.microsoft.com/office/drawing/2014/main" id="{8FF77E66-03C7-430A-8465-DF976E29C2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5" name="Oval 49">
              <a:extLst>
                <a:ext uri="{FF2B5EF4-FFF2-40B4-BE49-F238E27FC236}">
                  <a16:creationId xmlns:a16="http://schemas.microsoft.com/office/drawing/2014/main" id="{EB80C244-AEB8-40A2-B69C-B4FC0C3C08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3C1D810B-ED80-485A-9647-4E82E3DF2E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03A0163F-1986-4D4F-B266-ACAE212F4A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6BD9AE1-3972-4F54-A2AB-C9698DA199AC}"/>
              </a:ext>
            </a:extLst>
          </p:cNvPr>
          <p:cNvGrpSpPr/>
          <p:nvPr/>
        </p:nvGrpSpPr>
        <p:grpSpPr>
          <a:xfrm>
            <a:off x="8006133" y="2324186"/>
            <a:ext cx="500063" cy="157162"/>
            <a:chOff x="5857875" y="5690627"/>
            <a:chExt cx="500063" cy="157162"/>
          </a:xfrm>
        </p:grpSpPr>
        <p:sp>
          <p:nvSpPr>
            <p:cNvPr id="29" name="desk1">
              <a:extLst>
                <a:ext uri="{FF2B5EF4-FFF2-40B4-BE49-F238E27FC236}">
                  <a16:creationId xmlns:a16="http://schemas.microsoft.com/office/drawing/2014/main" id="{280BE7EE-F7AF-4DD4-8C19-DB6EC5AD0414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0" name="Oval 49">
              <a:extLst>
                <a:ext uri="{FF2B5EF4-FFF2-40B4-BE49-F238E27FC236}">
                  <a16:creationId xmlns:a16="http://schemas.microsoft.com/office/drawing/2014/main" id="{4F006D8E-BA09-4CAF-A361-608F15CED7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Oval 49">
              <a:extLst>
                <a:ext uri="{FF2B5EF4-FFF2-40B4-BE49-F238E27FC236}">
                  <a16:creationId xmlns:a16="http://schemas.microsoft.com/office/drawing/2014/main" id="{F1C20F40-4262-4744-8B9F-03E237D43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20">
              <a:extLst>
                <a:ext uri="{FF2B5EF4-FFF2-40B4-BE49-F238E27FC236}">
                  <a16:creationId xmlns:a16="http://schemas.microsoft.com/office/drawing/2014/main" id="{0C9E78B7-F58F-42EA-B1E4-2B1EFB4D271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8A4DC42-C1F7-40E8-8F2B-331146B9640C}"/>
              </a:ext>
            </a:extLst>
          </p:cNvPr>
          <p:cNvGrpSpPr/>
          <p:nvPr/>
        </p:nvGrpSpPr>
        <p:grpSpPr>
          <a:xfrm>
            <a:off x="8000168" y="2631091"/>
            <a:ext cx="500063" cy="157162"/>
            <a:chOff x="5857875" y="5690627"/>
            <a:chExt cx="500063" cy="157162"/>
          </a:xfrm>
        </p:grpSpPr>
        <p:sp>
          <p:nvSpPr>
            <p:cNvPr id="34" name="desk1">
              <a:extLst>
                <a:ext uri="{FF2B5EF4-FFF2-40B4-BE49-F238E27FC236}">
                  <a16:creationId xmlns:a16="http://schemas.microsoft.com/office/drawing/2014/main" id="{BA4C5C3D-0CC2-4E4A-BC5F-3F6829B6343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5" name="Oval 49">
              <a:extLst>
                <a:ext uri="{FF2B5EF4-FFF2-40B4-BE49-F238E27FC236}">
                  <a16:creationId xmlns:a16="http://schemas.microsoft.com/office/drawing/2014/main" id="{2761A3D7-0CBD-4AB4-A5A5-8C0F7A6A236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6" name="Oval 49">
              <a:extLst>
                <a:ext uri="{FF2B5EF4-FFF2-40B4-BE49-F238E27FC236}">
                  <a16:creationId xmlns:a16="http://schemas.microsoft.com/office/drawing/2014/main" id="{E6FFF198-746E-493A-84DA-BDBCBDD0DC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B0E1518B-33B5-49C6-846A-629F206060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309C939-0CE0-4C6A-8758-805704B051FE}"/>
              </a:ext>
            </a:extLst>
          </p:cNvPr>
          <p:cNvGrpSpPr/>
          <p:nvPr/>
        </p:nvGrpSpPr>
        <p:grpSpPr>
          <a:xfrm>
            <a:off x="8000168" y="2937996"/>
            <a:ext cx="500063" cy="157162"/>
            <a:chOff x="5857875" y="5690627"/>
            <a:chExt cx="500063" cy="157162"/>
          </a:xfrm>
        </p:grpSpPr>
        <p:sp>
          <p:nvSpPr>
            <p:cNvPr id="39" name="desk1">
              <a:extLst>
                <a:ext uri="{FF2B5EF4-FFF2-40B4-BE49-F238E27FC236}">
                  <a16:creationId xmlns:a16="http://schemas.microsoft.com/office/drawing/2014/main" id="{F8D11363-F84A-4C07-AFFC-3AB48882FCF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0" name="Oval 49">
              <a:extLst>
                <a:ext uri="{FF2B5EF4-FFF2-40B4-BE49-F238E27FC236}">
                  <a16:creationId xmlns:a16="http://schemas.microsoft.com/office/drawing/2014/main" id="{93AD439C-C1AC-4E9E-8A40-FC5A5090801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1" name="Oval 49">
              <a:extLst>
                <a:ext uri="{FF2B5EF4-FFF2-40B4-BE49-F238E27FC236}">
                  <a16:creationId xmlns:a16="http://schemas.microsoft.com/office/drawing/2014/main" id="{E330B0CA-BF75-4582-96BD-C1B0768DCD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2602D407-8C54-48D2-BAA4-9000E9A1A3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3" name="Gruppieren 48">
            <a:extLst>
              <a:ext uri="{FF2B5EF4-FFF2-40B4-BE49-F238E27FC236}">
                <a16:creationId xmlns:a16="http://schemas.microsoft.com/office/drawing/2014/main" id="{99EC53F5-F54E-4AFA-8BEC-FE814161CAEC}"/>
              </a:ext>
            </a:extLst>
          </p:cNvPr>
          <p:cNvGrpSpPr>
            <a:grpSpLocks/>
          </p:cNvGrpSpPr>
          <p:nvPr/>
        </p:nvGrpSpPr>
        <p:grpSpPr bwMode="auto">
          <a:xfrm>
            <a:off x="8010311" y="3242249"/>
            <a:ext cx="500063" cy="157162"/>
            <a:chOff x="2786050" y="5694380"/>
            <a:chExt cx="500066" cy="157145"/>
          </a:xfrm>
        </p:grpSpPr>
        <p:sp>
          <p:nvSpPr>
            <p:cNvPr id="44" name="desk1">
              <a:extLst>
                <a:ext uri="{FF2B5EF4-FFF2-40B4-BE49-F238E27FC236}">
                  <a16:creationId xmlns:a16="http://schemas.microsoft.com/office/drawing/2014/main" id="{C0E83A6E-6260-42F2-A630-A07D6E68DAC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512B2053-D7A7-4FDB-AA81-C651932FD87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D1EF024-AB7B-4636-85A7-C7A77C505F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id="{220785D7-5D24-4040-AC44-CE34CB1E8D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6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meilenstein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847305"/>
              </p:ext>
            </p:extLst>
          </p:nvPr>
        </p:nvGraphicFramePr>
        <p:xfrm>
          <a:off x="573088" y="1309785"/>
          <a:ext cx="8074024" cy="4596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940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2167499">
                  <a:extLst>
                    <a:ext uri="{9D8B030D-6E8A-4147-A177-3AD203B41FA5}">
                      <a16:colId xmlns:a16="http://schemas.microsoft.com/office/drawing/2014/main" val="267932930"/>
                    </a:ext>
                  </a:extLst>
                </a:gridCol>
                <a:gridCol w="1219218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938604">
                  <a:extLst>
                    <a:ext uri="{9D8B030D-6E8A-4147-A177-3AD203B41FA5}">
                      <a16:colId xmlns:a16="http://schemas.microsoft.com/office/drawing/2014/main" val="3928458255"/>
                    </a:ext>
                  </a:extLst>
                </a:gridCol>
                <a:gridCol w="1112240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1323523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</a:tblGrid>
              <a:tr h="318990">
                <a:tc rowSpan="2"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eilenstei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</a:t>
                      </a:r>
                      <a:r>
                        <a:rPr lang="de-DE" sz="1400" baseline="0" dirty="0">
                          <a:solidFill>
                            <a:schemeClr val="tx1"/>
                          </a:solidFill>
                        </a:rPr>
                        <a:t> (bei Bedarf)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Terminpla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47534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rsp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ktue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312058"/>
                  </a:ext>
                </a:extLst>
              </a:tr>
              <a:tr h="163090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Grundlagen des Projekts fest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auswähl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such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9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9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Aufgaben Zuweisung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ommunikation steuer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19022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Applikation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GUI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exe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designe ich den Python Algorithmus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GUI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exe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s Python Algorithmus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Test der Applik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In Arbeit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9805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Projekt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ießen der Projektdokum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Abschlusspräs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usspräsentation halt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 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  <a:p>
                      <a:pPr algn="ctr"/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3901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kos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FD6BA2-6B97-4D41-B991-C54DF0E03A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" b="1"/>
          <a:stretch/>
        </p:blipFill>
        <p:spPr>
          <a:xfrm>
            <a:off x="2305050" y="1317073"/>
            <a:ext cx="4533900" cy="423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Was können wir tun, um die Risiken für den Projekterfolg zu minimieren?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-Risikoanalyse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gray">
          <a:xfrm>
            <a:off x="3725542" y="5797364"/>
            <a:ext cx="1780398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swirkungen</a:t>
            </a:r>
            <a:endParaRPr lang="de-DE" altLang="de-DE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gray">
          <a:xfrm rot="16200000">
            <a:off x="-1005024" y="3570961"/>
            <a:ext cx="3118905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ftrittswahrscheinlichkeit</a:t>
            </a:r>
            <a:endParaRPr lang="de-DE" altLang="de-DE" dirty="0"/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1024083" y="1809251"/>
            <a:ext cx="0" cy="37455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024083" y="5569428"/>
            <a:ext cx="7731369" cy="1466"/>
          </a:xfrm>
          <a:custGeom>
            <a:avLst/>
            <a:gdLst>
              <a:gd name="T0" fmla="*/ 0 w 4170"/>
              <a:gd name="T1" fmla="*/ 0 h 1"/>
              <a:gd name="T2" fmla="*/ 2147483647 w 4170"/>
              <a:gd name="T3" fmla="*/ 0 h 1"/>
              <a:gd name="T4" fmla="*/ 0 60000 65536"/>
              <a:gd name="T5" fmla="*/ 0 60000 65536"/>
              <a:gd name="T6" fmla="*/ 0 w 4170"/>
              <a:gd name="T7" fmla="*/ 0 h 1"/>
              <a:gd name="T8" fmla="*/ 4170 w 417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170" h="1">
                <a:moveTo>
                  <a:pt x="0" y="0"/>
                </a:moveTo>
                <a:lnTo>
                  <a:pt x="417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H="1">
            <a:off x="3538683" y="1772617"/>
            <a:ext cx="17585" cy="3780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19" name="Line 8"/>
          <p:cNvSpPr>
            <a:spLocks noChangeShapeType="1"/>
          </p:cNvSpPr>
          <p:nvPr/>
        </p:nvSpPr>
        <p:spPr bwMode="auto">
          <a:xfrm>
            <a:off x="6065006" y="1772617"/>
            <a:ext cx="11723" cy="3786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>
            <a:off x="1037272" y="4287218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024084" y="3009402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gray">
          <a:xfrm>
            <a:off x="7320538" y="5531962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gray">
          <a:xfrm>
            <a:off x="4339533" y="5545150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Mittel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gray">
          <a:xfrm>
            <a:off x="1575923" y="5537824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Gering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gray">
          <a:xfrm rot="16200000">
            <a:off x="584165" y="2255715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gray">
          <a:xfrm rot="16200000">
            <a:off x="579356" y="3483708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Mittel</a:t>
            </a:r>
          </a:p>
        </p:txBody>
      </p:sp>
      <p:sp>
        <p:nvSpPr>
          <p:cNvPr id="27" name="Text Box 16"/>
          <p:cNvSpPr txBox="1">
            <a:spLocks noChangeArrowheads="1"/>
          </p:cNvSpPr>
          <p:nvPr/>
        </p:nvSpPr>
        <p:spPr bwMode="gray">
          <a:xfrm rot="16200000">
            <a:off x="520846" y="4679462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Gering</a:t>
            </a:r>
          </a:p>
        </p:txBody>
      </p:sp>
      <p:graphicFrame>
        <p:nvGraphicFramePr>
          <p:cNvPr id="28" name="Group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265980"/>
              </p:ext>
            </p:extLst>
          </p:nvPr>
        </p:nvGraphicFramePr>
        <p:xfrm>
          <a:off x="1088561" y="4326782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306126"/>
              </p:ext>
            </p:extLst>
          </p:nvPr>
        </p:nvGraphicFramePr>
        <p:xfrm>
          <a:off x="3614884" y="432824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28693"/>
              </p:ext>
            </p:extLst>
          </p:nvPr>
        </p:nvGraphicFramePr>
        <p:xfrm>
          <a:off x="6142672" y="432971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ine Kommunikation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zuverlässigkeit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055321"/>
              </p:ext>
            </p:extLst>
          </p:nvPr>
        </p:nvGraphicFramePr>
        <p:xfrm>
          <a:off x="1090026" y="305189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hafte Auswahlkriterien/ Benutzerfreundlichkeit/ Dokumentation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395249"/>
              </p:ext>
            </p:extLst>
          </p:nvPr>
        </p:nvGraphicFramePr>
        <p:xfrm>
          <a:off x="3616349" y="305336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38442"/>
              </p:ext>
            </p:extLst>
          </p:nvPr>
        </p:nvGraphicFramePr>
        <p:xfrm>
          <a:off x="6144138" y="30548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schreitung der Abgabefrist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Group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969026"/>
              </p:ext>
            </p:extLst>
          </p:nvPr>
        </p:nvGraphicFramePr>
        <p:xfrm>
          <a:off x="1079768" y="1766756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685832"/>
              </p:ext>
            </p:extLst>
          </p:nvPr>
        </p:nvGraphicFramePr>
        <p:xfrm>
          <a:off x="3607556" y="1768221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liche Überlastung der Projektteilnehmer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628499"/>
              </p:ext>
            </p:extLst>
          </p:nvPr>
        </p:nvGraphicFramePr>
        <p:xfrm>
          <a:off x="6133879" y="17594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 an Validen Daten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hler bei der Umsetzung der Software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Maßnahmen zu Risik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100" dirty="0"/>
              <a:t>Kommunikation stärken</a:t>
            </a:r>
          </a:p>
          <a:p>
            <a:r>
              <a:rPr lang="de-DE" sz="1100" dirty="0"/>
              <a:t>Zuverlässigkeit steigern</a:t>
            </a:r>
          </a:p>
          <a:p>
            <a:r>
              <a:rPr lang="de-DE" sz="1100" dirty="0"/>
              <a:t>Faire aufgaben Verteilung und Teamwork</a:t>
            </a:r>
          </a:p>
          <a:p>
            <a:r>
              <a:rPr lang="de-DE" sz="1100" dirty="0"/>
              <a:t>Valide daten bereitstellen</a:t>
            </a:r>
          </a:p>
          <a:p>
            <a:r>
              <a:rPr lang="de-DE" sz="1100" dirty="0"/>
              <a:t>Debugging</a:t>
            </a:r>
          </a:p>
          <a:p>
            <a:r>
              <a:rPr lang="de-DE" sz="1100" dirty="0"/>
              <a:t>Zeitmanagement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Handlungsbedarf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00" kern="0" dirty="0"/>
              <a:t>Regelmäßige Meetings und Kommunikation über Messenger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Disziplinarmaßnahmen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Hilfsbereitschaft zeig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Daten Recherche durchführ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odulares test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Gantt Diagramm erstellen</a:t>
            </a:r>
          </a:p>
          <a:p>
            <a:pPr>
              <a:lnSpc>
                <a:spcPct val="150000"/>
              </a:lnSpc>
            </a:pPr>
            <a:endParaRPr lang="de-DE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296797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Letzte 2 Woch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Kriterien ausgewählt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Kriterien gesucht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Datengrundlage geschaffen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GitHub </a:t>
            </a:r>
            <a:r>
              <a:rPr lang="de-DE" sz="1600" b="0" i="0" u="none" strike="noStrike" dirty="0" err="1">
                <a:latin typeface="+mj-lt"/>
              </a:rPr>
              <a:t>repository</a:t>
            </a:r>
            <a:r>
              <a:rPr lang="de-DE" sz="1600" b="0" i="0" u="none" strike="noStrike" dirty="0">
                <a:latin typeface="+mj-lt"/>
              </a:rPr>
              <a:t> erstellt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Das Zeitmanagement festgelegt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Aufgaben aufgeteilt</a:t>
            </a:r>
          </a:p>
          <a:p>
            <a:pPr marL="285750" marR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b="0" i="0" u="none" strike="noStrike" dirty="0">
                <a:latin typeface="+mj-lt"/>
              </a:rPr>
              <a:t>Dokumentationsvorschrift festgelegt</a:t>
            </a:r>
          </a:p>
          <a:p>
            <a:pPr marL="0" indent="0">
              <a:lnSpc>
                <a:spcPct val="150000"/>
              </a:lnSpc>
              <a:buNone/>
            </a:pPr>
            <a:endParaRPr lang="de-DE" dirty="0"/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Nächste 2 Woch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600" kern="0" dirty="0"/>
              <a:t>Projektteam informiert sich über ihre jeweiligen Aufgaben</a:t>
            </a:r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3050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Entscheidungsbedarf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1"/>
            <a:ext cx="7951481" cy="4149665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endParaRPr lang="de-DE" dirty="0"/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</p:spTree>
    <p:extLst>
      <p:ext uri="{BB962C8B-B14F-4D97-AF65-F5344CB8AC3E}">
        <p14:creationId xmlns:p14="http://schemas.microsoft.com/office/powerpoint/2010/main" val="32718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Es werden in den kommenden Jahren immer mehr Elektrofahrzeuge hergestellt und verkauft. Um zu erkennen in welchem Bundesland sich Marketingmaßnahmen lohnen würden, möchten wir einen Unterstützenden Algorithmus erstellen.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Problem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Valide Datengrundlage ist schwierig zu ermitteln</a:t>
            </a:r>
          </a:p>
          <a:p>
            <a:r>
              <a:rPr lang="de-DE" sz="1800" kern="0" dirty="0"/>
              <a:t>Auswahlkriterien könnten nicht vollständig ermittelt werden</a:t>
            </a:r>
          </a:p>
          <a:p>
            <a:r>
              <a:rPr lang="de-DE" sz="1800" kern="0" dirty="0"/>
              <a:t>Zeitmangel</a:t>
            </a:r>
          </a:p>
          <a:p>
            <a:r>
              <a:rPr lang="de-DE" sz="1800" kern="0" dirty="0"/>
              <a:t>Der Algorithmus kann zu grob werden</a:t>
            </a:r>
          </a:p>
        </p:txBody>
      </p:sp>
    </p:spTree>
    <p:extLst>
      <p:ext uri="{BB962C8B-B14F-4D97-AF65-F5344CB8AC3E}">
        <p14:creationId xmlns:p14="http://schemas.microsoft.com/office/powerpoint/2010/main" val="88959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Zielsetzung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9239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Einen Unterstützenden Algorithmus zu entwickeln, der bei Entscheidungsfindung, aufgrund der gewählten Kriterien unterstütz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Zeitlichen rahmen einhalten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fache Applikation in Python programmieren, die den Algorithmus bereitstellt und die Gewichtung der Kriterien erlaub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e sehr gute Projektdokumentation und Versions Kontrolle anstreben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357486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453606B-A0E8-41C5-B886-D3631503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sz="2400" kern="1200" dirty="0"/>
              <a:t>Klassifizierung am Beispiel Elektrofahrzeu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1F416F-F2D8-418C-AC5D-88C99A13AF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kern="0" dirty="0"/>
              <a:t>Kriterien auswählen 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Kriterien suchen</a:t>
            </a:r>
            <a:endParaRPr lang="de-DE" sz="1200" kern="0" dirty="0"/>
          </a:p>
          <a:p>
            <a:pPr>
              <a:lnSpc>
                <a:spcPct val="150000"/>
              </a:lnSpc>
            </a:pPr>
            <a:r>
              <a:rPr lang="de-DE" sz="1200" kern="0" dirty="0"/>
              <a:t>Datengrundlage schaff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Projektdokumentation pfleg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Aufgaben Zuweisung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GitHub </a:t>
            </a:r>
            <a:r>
              <a:rPr lang="de-DE" sz="1200" kern="0" dirty="0" err="1"/>
              <a:t>repository</a:t>
            </a:r>
            <a:r>
              <a:rPr lang="de-DE" sz="1200" kern="0" dirty="0"/>
              <a:t> anlegen zur Versions Kontrolle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Kommunikation steuer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GUI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exe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designe ich den Python Algorithmus? (Informationsbeschaffung)</a:t>
            </a:r>
          </a:p>
          <a:p>
            <a:pPr>
              <a:lnSpc>
                <a:spcPct val="150000"/>
              </a:lnSpc>
            </a:pPr>
            <a:endParaRPr lang="de-DE" sz="1100" dirty="0"/>
          </a:p>
          <a:p>
            <a:pPr>
              <a:lnSpc>
                <a:spcPct val="150000"/>
              </a:lnSpc>
            </a:pPr>
            <a:endParaRPr lang="de-DE" sz="110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659B6EE-43AD-4F05-BC79-8BA056B532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Festlegen von Dokumentationsvorschrift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Festlegen des Zeitmanagem</a:t>
            </a:r>
            <a:r>
              <a:rPr lang="de-DE" sz="1200" dirty="0"/>
              <a:t>ents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GUI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exe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s Python Algorithmus</a:t>
            </a:r>
          </a:p>
          <a:p>
            <a:r>
              <a:rPr lang="de-DE" sz="1200" dirty="0"/>
              <a:t>Abschließen der Projektdokumentation</a:t>
            </a:r>
          </a:p>
          <a:p>
            <a:r>
              <a:rPr lang="de-DE" sz="1200" dirty="0"/>
              <a:t>Finale Test der Applikation</a:t>
            </a:r>
          </a:p>
          <a:p>
            <a:r>
              <a:rPr lang="de-DE" sz="1200" dirty="0"/>
              <a:t>Erstellen der Abschlusspräsentation</a:t>
            </a:r>
          </a:p>
          <a:p>
            <a:endParaRPr lang="de-DE" sz="1400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12B9036-1E70-4451-9BD4-E84CF948BB56}"/>
              </a:ext>
            </a:extLst>
          </p:cNvPr>
          <p:cNvSpPr txBox="1">
            <a:spLocks/>
          </p:cNvSpPr>
          <p:nvPr/>
        </p:nvSpPr>
        <p:spPr bwMode="auto">
          <a:xfrm>
            <a:off x="573088" y="1100064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Aufgaben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5FD5584E-345D-4AB7-9944-91C07C950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125967959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Projektzuschnitt: In </a:t>
            </a:r>
            <a:r>
              <a:rPr lang="de-DE" dirty="0" err="1"/>
              <a:t>Scope</a:t>
            </a:r>
            <a:r>
              <a:rPr lang="de-DE" dirty="0"/>
              <a:t> /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FF1D8071-E60E-B041-B1F8-C4509F6D34B6}"/>
              </a:ext>
            </a:extLst>
          </p:cNvPr>
          <p:cNvGrpSpPr>
            <a:grpSpLocks/>
          </p:cNvGrpSpPr>
          <p:nvPr/>
        </p:nvGrpSpPr>
        <p:grpSpPr bwMode="auto">
          <a:xfrm>
            <a:off x="1740877" y="2041282"/>
            <a:ext cx="5750169" cy="3631223"/>
            <a:chOff x="2112" y="2368"/>
            <a:chExt cx="1728" cy="1088"/>
          </a:xfrm>
        </p:grpSpPr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55A5B0D4-FAD6-6548-A0D9-3339FC355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36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6" name="AutoShape 5">
              <a:extLst>
                <a:ext uri="{FF2B5EF4-FFF2-40B4-BE49-F238E27FC236}">
                  <a16:creationId xmlns:a16="http://schemas.microsoft.com/office/drawing/2014/main" id="{66B58E88-780F-9844-A6B6-446ED9D70E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112" y="332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7" name="AutoShape 6">
              <a:extLst>
                <a:ext uri="{FF2B5EF4-FFF2-40B4-BE49-F238E27FC236}">
                  <a16:creationId xmlns:a16="http://schemas.microsoft.com/office/drawing/2014/main" id="{E9180EC1-A045-9147-84FA-2432A5AC9A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V="1">
              <a:off x="32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8" name="AutoShape 7">
              <a:extLst>
                <a:ext uri="{FF2B5EF4-FFF2-40B4-BE49-F238E27FC236}">
                  <a16:creationId xmlns:a16="http://schemas.microsoft.com/office/drawing/2014/main" id="{FE717663-3493-6D46-9462-16E97029591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16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</p:grpSp>
      <p:sp>
        <p:nvSpPr>
          <p:cNvPr id="19" name="Rectangle 8">
            <a:extLst>
              <a:ext uri="{FF2B5EF4-FFF2-40B4-BE49-F238E27FC236}">
                <a16:creationId xmlns:a16="http://schemas.microsoft.com/office/drawing/2014/main" id="{96F8627F-6518-484C-A599-43FD6632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2713892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Elektroautos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2019EEE-9A6D-7F4B-8E95-DEDFCEAF9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Motorräder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FE4EEB46-7FCC-1841-9842-374FD0E83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LKWs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EC38DEF8-304E-8F45-9E20-C7DA65387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eschlecht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094A6EE1-FF3B-B245-BE33-546CDA2B9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Politische Einstellung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81FAE73-B973-E042-827B-DB7A6960F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Cluster/ A-Priori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93E73510-C380-F544-8D85-250777570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Diesel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1F6C32E-E5CA-964A-BFFA-E5AC4EF1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enziner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C792B7B7-9256-9149-BB8F-06421B712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as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0FABAAD-FE7C-9E47-A7D3-AA3E92C94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Kreisebene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D7C9A38C-02BF-2849-8C8D-37E796ED1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undesebene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83F48DDE-DBB5-3A43-B076-FCED2D5A1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3527182"/>
            <a:ext cx="1323243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Alter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87431E54-462C-DB4D-A402-66C445C6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2713892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änderebene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8D1F757-BC14-E84E-8B8E-48DFF4B2A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3527182"/>
            <a:ext cx="1324708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adesäulen pro KM²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298DA043-CCCC-F04F-90C8-F5C0509D2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4340469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Klassifizierung</a:t>
            </a:r>
            <a:endParaRPr lang="de-DE" altLang="de-DE" sz="1108" dirty="0">
              <a:solidFill>
                <a:schemeClr val="bg1"/>
              </a:solidFill>
            </a:endParaRP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06A0BB67-7F53-904E-AB20-AAAD76599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2713892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Kaufkraft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284797D7-B2C0-8D40-9F99-0EABE37DD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3527182"/>
            <a:ext cx="1326174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Marketingvorschlag</a:t>
            </a: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886FCF85-DC48-8A42-A558-EBAF9804C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846" y="2095501"/>
            <a:ext cx="974947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b="1" dirty="0">
                <a:solidFill>
                  <a:schemeClr val="bg1"/>
                </a:solidFill>
              </a:rPr>
              <a:t>In Scope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A27E050-DF6F-214A-A1DF-4C02A4A83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1416" y="1537190"/>
            <a:ext cx="1415772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dirty="0"/>
              <a:t> </a:t>
            </a:r>
            <a:r>
              <a:rPr lang="de-DE" altLang="de-DE" sz="1477" b="1" dirty="0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11001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6590" y="1715586"/>
            <a:ext cx="3700732" cy="355405"/>
          </a:xfrm>
        </p:spPr>
        <p:txBody>
          <a:bodyPr/>
          <a:lstStyle/>
          <a:p>
            <a:r>
              <a:rPr lang="de-DE" sz="2000" b="0" dirty="0"/>
              <a:t>Qualitativ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6590" y="2125797"/>
            <a:ext cx="3780000" cy="371428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Unterstützt die Potential Erkennung für Absatzsteigerung</a:t>
            </a:r>
          </a:p>
          <a:p>
            <a:r>
              <a:rPr lang="de-DE" sz="2000" dirty="0"/>
              <a:t>Erlaubt die einfache Gewichtung von Kriterien</a:t>
            </a:r>
          </a:p>
          <a:p>
            <a:r>
              <a:rPr lang="de-DE" sz="2000" dirty="0"/>
              <a:t>Macht die Situation in den Bundeländern vergleichbar</a:t>
            </a:r>
          </a:p>
          <a:p>
            <a:r>
              <a:rPr lang="de-DE" sz="2000" dirty="0"/>
              <a:t>Beruht auf Validen Da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72225" y="1715586"/>
            <a:ext cx="3780001" cy="355406"/>
          </a:xfrm>
        </p:spPr>
        <p:txBody>
          <a:bodyPr/>
          <a:lstStyle/>
          <a:p>
            <a:r>
              <a:rPr lang="de-DE" sz="2000" b="0" dirty="0"/>
              <a:t>Quantitativ</a:t>
            </a:r>
            <a:endParaRPr lang="de-DE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72226" y="2125797"/>
            <a:ext cx="3780000" cy="3714287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Verringert die kosten für Marketing durch Effizienz Steigerung</a:t>
            </a:r>
          </a:p>
          <a:p>
            <a:r>
              <a:rPr lang="de-DE" sz="2000" dirty="0"/>
              <a:t>Spart zeit bei der Ort Auswahl für die Marketingmaßnahmen</a:t>
            </a:r>
          </a:p>
          <a:p>
            <a:r>
              <a:rPr lang="de-DE" sz="2000" dirty="0"/>
              <a:t>Steht Kostengünstig zur Verfügung</a:t>
            </a:r>
          </a:p>
          <a:p>
            <a:endParaRPr lang="de-DE" sz="2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>
          <a:xfrm>
            <a:off x="478201" y="1100064"/>
            <a:ext cx="8074025" cy="633486"/>
          </a:xfrm>
          <a:prstGeom prst="rect">
            <a:avLst/>
          </a:prstGeom>
        </p:spPr>
        <p:txBody>
          <a:bodyPr anchor="ctr"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sz="1800" b="1" kern="0" dirty="0">
                <a:solidFill>
                  <a:schemeClr val="accent6">
                    <a:lumMod val="75000"/>
                  </a:schemeClr>
                </a:solidFill>
              </a:rPr>
              <a:t>Nutzen</a:t>
            </a:r>
            <a:endParaRPr lang="de-DE" b="1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5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Randbedingung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600" dirty="0"/>
              <a:t>Verfügbarkeit von Software und Hardware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eine Vernachlässigung von andern laufenden Projekten/Modulen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ommunikationsbereitschaft der Projektteilnehmer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Keine Kommunikation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Un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Zeitliche Überlastung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 an Validen Dat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Fehler bei der Umsetzung der Software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Überschreitung der Abgabefrist</a:t>
            </a:r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454AD2-4641-4CF6-AD1E-5804A160DFE1}"/>
              </a:ext>
            </a:extLst>
          </p:cNvPr>
          <p:cNvSpPr txBox="1">
            <a:spLocks/>
          </p:cNvSpPr>
          <p:nvPr/>
        </p:nvSpPr>
        <p:spPr bwMode="auto">
          <a:xfrm>
            <a:off x="4572000" y="4176488"/>
            <a:ext cx="3949187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Mangelhafte Auswahlkriteri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Benutzerfreundlichkeit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Dokumentation</a:t>
            </a:r>
          </a:p>
          <a:p>
            <a:pPr>
              <a:lnSpc>
                <a:spcPct val="150000"/>
              </a:lnSpc>
            </a:pPr>
            <a:endParaRPr lang="de-DE" sz="105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1635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phas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2D0B4F8-0839-4377-B76C-D03DDB2250F1}"/>
              </a:ext>
            </a:extLst>
          </p:cNvPr>
          <p:cNvSpPr txBox="1"/>
          <p:nvPr/>
        </p:nvSpPr>
        <p:spPr>
          <a:xfrm>
            <a:off x="4076875" y="1738951"/>
            <a:ext cx="1296144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sz="1200" b="1" dirty="0">
                <a:solidFill>
                  <a:srgbClr val="00B0F0"/>
                </a:solidFill>
                <a:latin typeface="+mn-lt"/>
              </a:rPr>
              <a:t>Heute</a:t>
            </a:r>
            <a:endParaRPr lang="de-DE" sz="160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2322B6-FA06-4A7B-91B1-A3B63A814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96" y="1949336"/>
            <a:ext cx="8401769" cy="2959327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515589A-A287-4E51-A79E-07D8C7D177E8}"/>
              </a:ext>
            </a:extLst>
          </p:cNvPr>
          <p:cNvCxnSpPr>
            <a:cxnSpLocks/>
          </p:cNvCxnSpPr>
          <p:nvPr/>
        </p:nvCxnSpPr>
        <p:spPr>
          <a:xfrm>
            <a:off x="4724947" y="1949336"/>
            <a:ext cx="0" cy="3180335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510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76498"/>
              </p:ext>
            </p:extLst>
          </p:nvPr>
        </p:nvGraphicFramePr>
        <p:xfrm>
          <a:off x="500331" y="1586783"/>
          <a:ext cx="8138157" cy="39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auswähl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su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GitHub repository anlegen zur Versions Kontro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  <a:tr h="1445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Aufgaben Zuwei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0345985"/>
                  </a:ext>
                </a:extLst>
              </a:tr>
              <a:tr h="13822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ommunikation steu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2863396"/>
                  </a:ext>
                </a:extLst>
              </a:tr>
              <a:tr h="1884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161222"/>
                  </a:ext>
                </a:extLst>
              </a:tr>
              <a:tr h="1195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GUI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216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exe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6517626"/>
                  </a:ext>
                </a:extLst>
              </a:tr>
              <a:tr h="14941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designe ich den Python Algorithmu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86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G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5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ex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5182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s Python Algorithm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6011754"/>
                  </a:ext>
                </a:extLst>
              </a:tr>
            </a:tbl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15" name="desk1"/>
            <p:cNvSpPr>
              <a:spLocks noChangeAspect="1" noEditPoints="1"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" name="Oval 19"/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Oval 49"/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9" name="Gruppieren 48"/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20" name="desk1"/>
            <p:cNvSpPr>
              <a:spLocks noChangeAspect="1" noEditPoints="1"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1" name="Oval 18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49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" name="Oval 49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25" name="desk1"/>
            <p:cNvSpPr>
              <a:spLocks noChangeAspect="1" noEditPoints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6" name="Oval 49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8" name="Oval 2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4BB9903-C5E3-4375-AF92-005AB0A1F705}"/>
              </a:ext>
            </a:extLst>
          </p:cNvPr>
          <p:cNvGrpSpPr/>
          <p:nvPr/>
        </p:nvGrpSpPr>
        <p:grpSpPr>
          <a:xfrm>
            <a:off x="7944240" y="4859809"/>
            <a:ext cx="500063" cy="157162"/>
            <a:chOff x="5857875" y="5690627"/>
            <a:chExt cx="500063" cy="157162"/>
          </a:xfrm>
        </p:grpSpPr>
        <p:sp>
          <p:nvSpPr>
            <p:cNvPr id="95" name="desk1">
              <a:extLst>
                <a:ext uri="{FF2B5EF4-FFF2-40B4-BE49-F238E27FC236}">
                  <a16:creationId xmlns:a16="http://schemas.microsoft.com/office/drawing/2014/main" id="{263B4C7A-5E3E-4181-AEED-DA5957F9A8D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6" name="Oval 49">
              <a:extLst>
                <a:ext uri="{FF2B5EF4-FFF2-40B4-BE49-F238E27FC236}">
                  <a16:creationId xmlns:a16="http://schemas.microsoft.com/office/drawing/2014/main" id="{9D018B3C-D84F-40FC-AD0C-0AF96D00BD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7" name="Oval 49">
              <a:extLst>
                <a:ext uri="{FF2B5EF4-FFF2-40B4-BE49-F238E27FC236}">
                  <a16:creationId xmlns:a16="http://schemas.microsoft.com/office/drawing/2014/main" id="{81775277-C3C7-489A-9258-40DF5644B4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1DD564FA-1711-4405-85E8-F4A0B2115F0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534C184-7672-466C-9C84-2589FC35E8A8}"/>
              </a:ext>
            </a:extLst>
          </p:cNvPr>
          <p:cNvGrpSpPr/>
          <p:nvPr/>
        </p:nvGrpSpPr>
        <p:grpSpPr>
          <a:xfrm>
            <a:off x="7944240" y="5114055"/>
            <a:ext cx="500063" cy="157162"/>
            <a:chOff x="5857875" y="5690627"/>
            <a:chExt cx="500063" cy="157162"/>
          </a:xfrm>
        </p:grpSpPr>
        <p:sp>
          <p:nvSpPr>
            <p:cNvPr id="100" name="desk1">
              <a:extLst>
                <a:ext uri="{FF2B5EF4-FFF2-40B4-BE49-F238E27FC236}">
                  <a16:creationId xmlns:a16="http://schemas.microsoft.com/office/drawing/2014/main" id="{A70886A1-417E-4BB4-9148-ACD2BA7ED7B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1" name="Oval 49">
              <a:extLst>
                <a:ext uri="{FF2B5EF4-FFF2-40B4-BE49-F238E27FC236}">
                  <a16:creationId xmlns:a16="http://schemas.microsoft.com/office/drawing/2014/main" id="{5072106D-4E37-475D-BAD6-81B5D74CC11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2" name="Oval 49">
              <a:extLst>
                <a:ext uri="{FF2B5EF4-FFF2-40B4-BE49-F238E27FC236}">
                  <a16:creationId xmlns:a16="http://schemas.microsoft.com/office/drawing/2014/main" id="{814C1E2B-5875-41D4-8930-D938169AFC9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3" name="Oval 20">
              <a:extLst>
                <a:ext uri="{FF2B5EF4-FFF2-40B4-BE49-F238E27FC236}">
                  <a16:creationId xmlns:a16="http://schemas.microsoft.com/office/drawing/2014/main" id="{AE8C096A-AAB5-4E41-8D90-CB05F1136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9254BDB-4E2E-4A78-B1C2-860763F24D54}"/>
              </a:ext>
            </a:extLst>
          </p:cNvPr>
          <p:cNvGrpSpPr/>
          <p:nvPr/>
        </p:nvGrpSpPr>
        <p:grpSpPr>
          <a:xfrm>
            <a:off x="7944239" y="5373876"/>
            <a:ext cx="500063" cy="157162"/>
            <a:chOff x="5857875" y="5690627"/>
            <a:chExt cx="500063" cy="157162"/>
          </a:xfrm>
        </p:grpSpPr>
        <p:sp>
          <p:nvSpPr>
            <p:cNvPr id="105" name="desk1">
              <a:extLst>
                <a:ext uri="{FF2B5EF4-FFF2-40B4-BE49-F238E27FC236}">
                  <a16:creationId xmlns:a16="http://schemas.microsoft.com/office/drawing/2014/main" id="{8B6000AF-B641-436D-A490-0213F6DB3F5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6" name="Oval 49">
              <a:extLst>
                <a:ext uri="{FF2B5EF4-FFF2-40B4-BE49-F238E27FC236}">
                  <a16:creationId xmlns:a16="http://schemas.microsoft.com/office/drawing/2014/main" id="{006EFF90-EEC1-4154-ABDE-ED498846BE4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7" name="Oval 49">
              <a:extLst>
                <a:ext uri="{FF2B5EF4-FFF2-40B4-BE49-F238E27FC236}">
                  <a16:creationId xmlns:a16="http://schemas.microsoft.com/office/drawing/2014/main" id="{19246004-85C1-4707-A288-6970A101D4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8" name="Oval 20">
              <a:extLst>
                <a:ext uri="{FF2B5EF4-FFF2-40B4-BE49-F238E27FC236}">
                  <a16:creationId xmlns:a16="http://schemas.microsoft.com/office/drawing/2014/main" id="{48645418-EC67-47DB-A10C-075164DFA7B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5FA47661-2BF2-4383-86AA-C6A26BC07C10}"/>
              </a:ext>
            </a:extLst>
          </p:cNvPr>
          <p:cNvGrpSpPr/>
          <p:nvPr/>
        </p:nvGrpSpPr>
        <p:grpSpPr>
          <a:xfrm>
            <a:off x="7944054" y="2011309"/>
            <a:ext cx="500063" cy="157162"/>
            <a:chOff x="285750" y="5690627"/>
            <a:chExt cx="500063" cy="157162"/>
          </a:xfrm>
        </p:grpSpPr>
        <p:sp>
          <p:nvSpPr>
            <p:cNvPr id="110" name="desk1">
              <a:extLst>
                <a:ext uri="{FF2B5EF4-FFF2-40B4-BE49-F238E27FC236}">
                  <a16:creationId xmlns:a16="http://schemas.microsoft.com/office/drawing/2014/main" id="{9639AA70-5C51-430B-A65D-FF200EF2BB36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1" name="Oval 19">
              <a:extLst>
                <a:ext uri="{FF2B5EF4-FFF2-40B4-BE49-F238E27FC236}">
                  <a16:creationId xmlns:a16="http://schemas.microsoft.com/office/drawing/2014/main" id="{6A5B3C20-6B11-4A74-AC56-303862FA238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2" name="Oval 49">
              <a:extLst>
                <a:ext uri="{FF2B5EF4-FFF2-40B4-BE49-F238E27FC236}">
                  <a16:creationId xmlns:a16="http://schemas.microsoft.com/office/drawing/2014/main" id="{3D1A6EE0-AFB6-427F-8E3C-708F509B9FC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3" name="Oval 49">
              <a:extLst>
                <a:ext uri="{FF2B5EF4-FFF2-40B4-BE49-F238E27FC236}">
                  <a16:creationId xmlns:a16="http://schemas.microsoft.com/office/drawing/2014/main" id="{D33FBED9-306D-441C-A065-6B9775B4F4A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56FD3B8E-65A4-44F1-B6AD-AF8F3AFA54D8}"/>
              </a:ext>
            </a:extLst>
          </p:cNvPr>
          <p:cNvGrpSpPr/>
          <p:nvPr/>
        </p:nvGrpSpPr>
        <p:grpSpPr>
          <a:xfrm>
            <a:off x="7944237" y="2270262"/>
            <a:ext cx="500063" cy="157162"/>
            <a:chOff x="285750" y="5690627"/>
            <a:chExt cx="500063" cy="157162"/>
          </a:xfrm>
        </p:grpSpPr>
        <p:sp>
          <p:nvSpPr>
            <p:cNvPr id="115" name="desk1">
              <a:extLst>
                <a:ext uri="{FF2B5EF4-FFF2-40B4-BE49-F238E27FC236}">
                  <a16:creationId xmlns:a16="http://schemas.microsoft.com/office/drawing/2014/main" id="{B8856AAC-815D-4A2F-A1F1-6BBE8905D3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6" name="Oval 19">
              <a:extLst>
                <a:ext uri="{FF2B5EF4-FFF2-40B4-BE49-F238E27FC236}">
                  <a16:creationId xmlns:a16="http://schemas.microsoft.com/office/drawing/2014/main" id="{1E2B2B47-05C3-47B4-B8DB-A9DDE766572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7" name="Oval 49">
              <a:extLst>
                <a:ext uri="{FF2B5EF4-FFF2-40B4-BE49-F238E27FC236}">
                  <a16:creationId xmlns:a16="http://schemas.microsoft.com/office/drawing/2014/main" id="{E0E68641-F2CB-4BEF-8FB8-76C1C02BA9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8" name="Oval 49">
              <a:extLst>
                <a:ext uri="{FF2B5EF4-FFF2-40B4-BE49-F238E27FC236}">
                  <a16:creationId xmlns:a16="http://schemas.microsoft.com/office/drawing/2014/main" id="{CAB1E1EF-4A99-46A9-B3E6-58D53B32C6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105D7A94-D344-43C1-8F16-4FE671BFC61A}"/>
              </a:ext>
            </a:extLst>
          </p:cNvPr>
          <p:cNvGrpSpPr/>
          <p:nvPr/>
        </p:nvGrpSpPr>
        <p:grpSpPr>
          <a:xfrm>
            <a:off x="7944236" y="2526473"/>
            <a:ext cx="500063" cy="157162"/>
            <a:chOff x="285750" y="5690627"/>
            <a:chExt cx="500063" cy="157162"/>
          </a:xfrm>
        </p:grpSpPr>
        <p:sp>
          <p:nvSpPr>
            <p:cNvPr id="120" name="desk1">
              <a:extLst>
                <a:ext uri="{FF2B5EF4-FFF2-40B4-BE49-F238E27FC236}">
                  <a16:creationId xmlns:a16="http://schemas.microsoft.com/office/drawing/2014/main" id="{0DC15679-B816-4307-8B21-F8844CED2B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1" name="Oval 19">
              <a:extLst>
                <a:ext uri="{FF2B5EF4-FFF2-40B4-BE49-F238E27FC236}">
                  <a16:creationId xmlns:a16="http://schemas.microsoft.com/office/drawing/2014/main" id="{CEFE290E-D997-45A4-A52A-22B31F43300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2" name="Oval 49">
              <a:extLst>
                <a:ext uri="{FF2B5EF4-FFF2-40B4-BE49-F238E27FC236}">
                  <a16:creationId xmlns:a16="http://schemas.microsoft.com/office/drawing/2014/main" id="{AC52C174-082E-4093-A32F-BA39D50B403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3" name="Oval 49">
              <a:extLst>
                <a:ext uri="{FF2B5EF4-FFF2-40B4-BE49-F238E27FC236}">
                  <a16:creationId xmlns:a16="http://schemas.microsoft.com/office/drawing/2014/main" id="{9D15977B-B31F-4FE5-A9A3-68B042E6387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BC44B79E-3803-4251-BD68-040890205D2E}"/>
              </a:ext>
            </a:extLst>
          </p:cNvPr>
          <p:cNvGrpSpPr/>
          <p:nvPr/>
        </p:nvGrpSpPr>
        <p:grpSpPr>
          <a:xfrm>
            <a:off x="7944235" y="2777449"/>
            <a:ext cx="500063" cy="157162"/>
            <a:chOff x="285750" y="5690627"/>
            <a:chExt cx="500063" cy="157162"/>
          </a:xfrm>
        </p:grpSpPr>
        <p:sp>
          <p:nvSpPr>
            <p:cNvPr id="125" name="desk1">
              <a:extLst>
                <a:ext uri="{FF2B5EF4-FFF2-40B4-BE49-F238E27FC236}">
                  <a16:creationId xmlns:a16="http://schemas.microsoft.com/office/drawing/2014/main" id="{6EEA4DB3-E47C-4FE2-8853-1E0E37756D8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6" name="Oval 19">
              <a:extLst>
                <a:ext uri="{FF2B5EF4-FFF2-40B4-BE49-F238E27FC236}">
                  <a16:creationId xmlns:a16="http://schemas.microsoft.com/office/drawing/2014/main" id="{76333F39-2E04-49B5-BD82-8B41C178311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7" name="Oval 49">
              <a:extLst>
                <a:ext uri="{FF2B5EF4-FFF2-40B4-BE49-F238E27FC236}">
                  <a16:creationId xmlns:a16="http://schemas.microsoft.com/office/drawing/2014/main" id="{B9BE69D4-5328-4270-A489-77B3A5CEA73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8" name="Oval 49">
              <a:extLst>
                <a:ext uri="{FF2B5EF4-FFF2-40B4-BE49-F238E27FC236}">
                  <a16:creationId xmlns:a16="http://schemas.microsoft.com/office/drawing/2014/main" id="{5D8CC23A-0EE0-4003-B9A7-E3A47F2B40A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488C52F0-C544-4916-A8A2-57E0F2D1C259}"/>
              </a:ext>
            </a:extLst>
          </p:cNvPr>
          <p:cNvGrpSpPr/>
          <p:nvPr/>
        </p:nvGrpSpPr>
        <p:grpSpPr>
          <a:xfrm>
            <a:off x="7944057" y="3031805"/>
            <a:ext cx="500063" cy="157162"/>
            <a:chOff x="285750" y="5690627"/>
            <a:chExt cx="500063" cy="157162"/>
          </a:xfrm>
        </p:grpSpPr>
        <p:sp>
          <p:nvSpPr>
            <p:cNvPr id="130" name="desk1">
              <a:extLst>
                <a:ext uri="{FF2B5EF4-FFF2-40B4-BE49-F238E27FC236}">
                  <a16:creationId xmlns:a16="http://schemas.microsoft.com/office/drawing/2014/main" id="{C0611A14-9556-43BF-9559-434E10A0615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1" name="Oval 19">
              <a:extLst>
                <a:ext uri="{FF2B5EF4-FFF2-40B4-BE49-F238E27FC236}">
                  <a16:creationId xmlns:a16="http://schemas.microsoft.com/office/drawing/2014/main" id="{80458803-F7DB-4130-B568-3CBDCCED93D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2" name="Oval 49">
              <a:extLst>
                <a:ext uri="{FF2B5EF4-FFF2-40B4-BE49-F238E27FC236}">
                  <a16:creationId xmlns:a16="http://schemas.microsoft.com/office/drawing/2014/main" id="{CA58EB80-CC9D-4720-840A-5ADCB0ED4A8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3" name="Oval 49">
              <a:extLst>
                <a:ext uri="{FF2B5EF4-FFF2-40B4-BE49-F238E27FC236}">
                  <a16:creationId xmlns:a16="http://schemas.microsoft.com/office/drawing/2014/main" id="{9DBB70DA-6673-4A69-BD4F-F682631509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7460D1B-2AC5-496F-8F57-F250FF5A713A}"/>
              </a:ext>
            </a:extLst>
          </p:cNvPr>
          <p:cNvGrpSpPr/>
          <p:nvPr/>
        </p:nvGrpSpPr>
        <p:grpSpPr>
          <a:xfrm>
            <a:off x="7944053" y="3294165"/>
            <a:ext cx="500063" cy="157162"/>
            <a:chOff x="285750" y="5690627"/>
            <a:chExt cx="500063" cy="157162"/>
          </a:xfrm>
        </p:grpSpPr>
        <p:sp>
          <p:nvSpPr>
            <p:cNvPr id="135" name="desk1">
              <a:extLst>
                <a:ext uri="{FF2B5EF4-FFF2-40B4-BE49-F238E27FC236}">
                  <a16:creationId xmlns:a16="http://schemas.microsoft.com/office/drawing/2014/main" id="{6C704CE5-B0F0-4C11-AF1C-E5486024D6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6" name="Oval 19">
              <a:extLst>
                <a:ext uri="{FF2B5EF4-FFF2-40B4-BE49-F238E27FC236}">
                  <a16:creationId xmlns:a16="http://schemas.microsoft.com/office/drawing/2014/main" id="{02F7353C-20F8-4935-A980-B6E8B684823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7" name="Oval 49">
              <a:extLst>
                <a:ext uri="{FF2B5EF4-FFF2-40B4-BE49-F238E27FC236}">
                  <a16:creationId xmlns:a16="http://schemas.microsoft.com/office/drawing/2014/main" id="{689A7F6D-9125-4F1A-AC31-8F355218937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8" name="Oval 49">
              <a:extLst>
                <a:ext uri="{FF2B5EF4-FFF2-40B4-BE49-F238E27FC236}">
                  <a16:creationId xmlns:a16="http://schemas.microsoft.com/office/drawing/2014/main" id="{1A928D88-B29E-4E51-998F-00F56FDE83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25139183-95AD-4F3C-ADC4-637CD4DD2B0F}"/>
              </a:ext>
            </a:extLst>
          </p:cNvPr>
          <p:cNvGrpSpPr/>
          <p:nvPr/>
        </p:nvGrpSpPr>
        <p:grpSpPr>
          <a:xfrm>
            <a:off x="7944052" y="3559859"/>
            <a:ext cx="500063" cy="157162"/>
            <a:chOff x="285750" y="5690627"/>
            <a:chExt cx="500063" cy="157162"/>
          </a:xfrm>
        </p:grpSpPr>
        <p:sp>
          <p:nvSpPr>
            <p:cNvPr id="140" name="desk1">
              <a:extLst>
                <a:ext uri="{FF2B5EF4-FFF2-40B4-BE49-F238E27FC236}">
                  <a16:creationId xmlns:a16="http://schemas.microsoft.com/office/drawing/2014/main" id="{C24301E9-8B65-47EE-896C-C8251B6CF9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1" name="Oval 19">
              <a:extLst>
                <a:ext uri="{FF2B5EF4-FFF2-40B4-BE49-F238E27FC236}">
                  <a16:creationId xmlns:a16="http://schemas.microsoft.com/office/drawing/2014/main" id="{F4B4E951-18DD-4ED2-B449-2F275C5FBAD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2" name="Oval 49">
              <a:extLst>
                <a:ext uri="{FF2B5EF4-FFF2-40B4-BE49-F238E27FC236}">
                  <a16:creationId xmlns:a16="http://schemas.microsoft.com/office/drawing/2014/main" id="{03F2174E-B59F-4705-B683-77CC883FA5D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3" name="Oval 49">
              <a:extLst>
                <a:ext uri="{FF2B5EF4-FFF2-40B4-BE49-F238E27FC236}">
                  <a16:creationId xmlns:a16="http://schemas.microsoft.com/office/drawing/2014/main" id="{A578144C-DDD7-49B5-9EF4-9478B51DE52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242E96CB-3862-4EED-9F3A-254D6A9F8B16}"/>
              </a:ext>
            </a:extLst>
          </p:cNvPr>
          <p:cNvGrpSpPr/>
          <p:nvPr/>
        </p:nvGrpSpPr>
        <p:grpSpPr>
          <a:xfrm>
            <a:off x="7944051" y="3823033"/>
            <a:ext cx="500063" cy="157162"/>
            <a:chOff x="285750" y="5690627"/>
            <a:chExt cx="500063" cy="157162"/>
          </a:xfrm>
        </p:grpSpPr>
        <p:sp>
          <p:nvSpPr>
            <p:cNvPr id="145" name="desk1">
              <a:extLst>
                <a:ext uri="{FF2B5EF4-FFF2-40B4-BE49-F238E27FC236}">
                  <a16:creationId xmlns:a16="http://schemas.microsoft.com/office/drawing/2014/main" id="{BC78F9A7-09FA-4A8D-95EF-4B6DDA0A217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6" name="Oval 19">
              <a:extLst>
                <a:ext uri="{FF2B5EF4-FFF2-40B4-BE49-F238E27FC236}">
                  <a16:creationId xmlns:a16="http://schemas.microsoft.com/office/drawing/2014/main" id="{5FFB2FCE-9415-4981-9D1A-102EBFD7FD5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7" name="Oval 49">
              <a:extLst>
                <a:ext uri="{FF2B5EF4-FFF2-40B4-BE49-F238E27FC236}">
                  <a16:creationId xmlns:a16="http://schemas.microsoft.com/office/drawing/2014/main" id="{CABD313B-88CF-46E9-8541-527F199932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8" name="Oval 49">
              <a:extLst>
                <a:ext uri="{FF2B5EF4-FFF2-40B4-BE49-F238E27FC236}">
                  <a16:creationId xmlns:a16="http://schemas.microsoft.com/office/drawing/2014/main" id="{19D3BD95-2293-4F10-8E05-1A605ACA6C3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C51B98-543D-45A9-A34F-2B9E1C5A6A8F}"/>
              </a:ext>
            </a:extLst>
          </p:cNvPr>
          <p:cNvGrpSpPr/>
          <p:nvPr/>
        </p:nvGrpSpPr>
        <p:grpSpPr>
          <a:xfrm>
            <a:off x="7944051" y="4078247"/>
            <a:ext cx="500063" cy="157162"/>
            <a:chOff x="285750" y="5690627"/>
            <a:chExt cx="500063" cy="157162"/>
          </a:xfrm>
        </p:grpSpPr>
        <p:sp>
          <p:nvSpPr>
            <p:cNvPr id="91" name="desk1">
              <a:extLst>
                <a:ext uri="{FF2B5EF4-FFF2-40B4-BE49-F238E27FC236}">
                  <a16:creationId xmlns:a16="http://schemas.microsoft.com/office/drawing/2014/main" id="{F0E79170-1E5E-47F2-BD7A-47C07C58C82B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2" name="Oval 19">
              <a:extLst>
                <a:ext uri="{FF2B5EF4-FFF2-40B4-BE49-F238E27FC236}">
                  <a16:creationId xmlns:a16="http://schemas.microsoft.com/office/drawing/2014/main" id="{E6F68A3E-4DF0-4281-9E97-86F67E5F226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3" name="Oval 49">
              <a:extLst>
                <a:ext uri="{FF2B5EF4-FFF2-40B4-BE49-F238E27FC236}">
                  <a16:creationId xmlns:a16="http://schemas.microsoft.com/office/drawing/2014/main" id="{F704ED2B-B9A8-471E-9651-978E5C099D1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4" name="Oval 49">
              <a:extLst>
                <a:ext uri="{FF2B5EF4-FFF2-40B4-BE49-F238E27FC236}">
                  <a16:creationId xmlns:a16="http://schemas.microsoft.com/office/drawing/2014/main" id="{60BD66DF-06E8-41F7-B109-1597CCE5C03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EDC61D8F-9561-45BF-B9B8-A7988BFEAB38}"/>
              </a:ext>
            </a:extLst>
          </p:cNvPr>
          <p:cNvGrpSpPr/>
          <p:nvPr/>
        </p:nvGrpSpPr>
        <p:grpSpPr>
          <a:xfrm>
            <a:off x="7944050" y="4334299"/>
            <a:ext cx="500063" cy="157162"/>
            <a:chOff x="285750" y="5690627"/>
            <a:chExt cx="500063" cy="157162"/>
          </a:xfrm>
        </p:grpSpPr>
        <p:sp>
          <p:nvSpPr>
            <p:cNvPr id="166" name="desk1">
              <a:extLst>
                <a:ext uri="{FF2B5EF4-FFF2-40B4-BE49-F238E27FC236}">
                  <a16:creationId xmlns:a16="http://schemas.microsoft.com/office/drawing/2014/main" id="{74837596-55E3-4F24-8048-7BEEA12554CE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7" name="Oval 19">
              <a:extLst>
                <a:ext uri="{FF2B5EF4-FFF2-40B4-BE49-F238E27FC236}">
                  <a16:creationId xmlns:a16="http://schemas.microsoft.com/office/drawing/2014/main" id="{3E63FEDC-E3A8-420A-909F-3734EF2064E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8" name="Oval 49">
              <a:extLst>
                <a:ext uri="{FF2B5EF4-FFF2-40B4-BE49-F238E27FC236}">
                  <a16:creationId xmlns:a16="http://schemas.microsoft.com/office/drawing/2014/main" id="{75C597ED-F3E4-4E26-BF6B-F71B0BBE7E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9" name="Oval 49">
              <a:extLst>
                <a:ext uri="{FF2B5EF4-FFF2-40B4-BE49-F238E27FC236}">
                  <a16:creationId xmlns:a16="http://schemas.microsoft.com/office/drawing/2014/main" id="{E32F618D-D515-41EA-B311-0DE559E3B8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06B3A34C-C912-4296-88C5-B8207515D897}"/>
              </a:ext>
            </a:extLst>
          </p:cNvPr>
          <p:cNvGrpSpPr/>
          <p:nvPr/>
        </p:nvGrpSpPr>
        <p:grpSpPr>
          <a:xfrm>
            <a:off x="7944049" y="4605563"/>
            <a:ext cx="500063" cy="157162"/>
            <a:chOff x="285750" y="5690627"/>
            <a:chExt cx="500063" cy="157162"/>
          </a:xfrm>
        </p:grpSpPr>
        <p:sp>
          <p:nvSpPr>
            <p:cNvPr id="171" name="desk1">
              <a:extLst>
                <a:ext uri="{FF2B5EF4-FFF2-40B4-BE49-F238E27FC236}">
                  <a16:creationId xmlns:a16="http://schemas.microsoft.com/office/drawing/2014/main" id="{EE9B788B-BCA7-403E-AC03-F36EDDC0840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72" name="Oval 19">
              <a:extLst>
                <a:ext uri="{FF2B5EF4-FFF2-40B4-BE49-F238E27FC236}">
                  <a16:creationId xmlns:a16="http://schemas.microsoft.com/office/drawing/2014/main" id="{72E15757-A498-4085-A5AC-5656BEDBA7D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3" name="Oval 49">
              <a:extLst>
                <a:ext uri="{FF2B5EF4-FFF2-40B4-BE49-F238E27FC236}">
                  <a16:creationId xmlns:a16="http://schemas.microsoft.com/office/drawing/2014/main" id="{C1405FC2-3D1B-42E8-80FA-BEDC98D7BD0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4" name="Oval 49">
              <a:extLst>
                <a:ext uri="{FF2B5EF4-FFF2-40B4-BE49-F238E27FC236}">
                  <a16:creationId xmlns:a16="http://schemas.microsoft.com/office/drawing/2014/main" id="{611C6A96-FD28-413D-B236-15060EE69E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20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pcl1_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26</Words>
  <Application>Microsoft Office PowerPoint</Application>
  <PresentationFormat>Bildschirmpräsentation (4:3)</PresentationFormat>
  <Paragraphs>294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Calibri</vt:lpstr>
      <vt:lpstr>Syntax</vt:lpstr>
      <vt:lpstr>Times</vt:lpstr>
      <vt:lpstr>TKTypeMedium</vt:lpstr>
      <vt:lpstr>Wingdings</vt:lpstr>
      <vt:lpstr>Leere Präsentation</vt:lpstr>
      <vt:lpstr>wpcl1_Leere Präsentation</vt:lpstr>
      <vt:lpstr>Business Intelligence 1 (Informationsmanagement)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Sascha Plate</cp:lastModifiedBy>
  <cp:revision>613</cp:revision>
  <cp:lastPrinted>2018-04-09T08:21:03Z</cp:lastPrinted>
  <dcterms:created xsi:type="dcterms:W3CDTF">2010-04-29T12:39:23Z</dcterms:created>
  <dcterms:modified xsi:type="dcterms:W3CDTF">2021-12-13T18:49:07Z</dcterms:modified>
</cp:coreProperties>
</file>